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00" r:id="rId5"/>
  </p:sldMasterIdLst>
  <p:notesMasterIdLst>
    <p:notesMasterId r:id="rId57"/>
  </p:notesMasterIdLst>
  <p:sldIdLst>
    <p:sldId id="630" r:id="rId6"/>
    <p:sldId id="660" r:id="rId7"/>
    <p:sldId id="627" r:id="rId8"/>
    <p:sldId id="605" r:id="rId9"/>
    <p:sldId id="631" r:id="rId10"/>
    <p:sldId id="647" r:id="rId11"/>
    <p:sldId id="648" r:id="rId12"/>
    <p:sldId id="649" r:id="rId13"/>
    <p:sldId id="650" r:id="rId14"/>
    <p:sldId id="634" r:id="rId15"/>
    <p:sldId id="661" r:id="rId16"/>
    <p:sldId id="636" r:id="rId17"/>
    <p:sldId id="651" r:id="rId18"/>
    <p:sldId id="640" r:id="rId19"/>
    <p:sldId id="643" r:id="rId20"/>
    <p:sldId id="644" r:id="rId21"/>
    <p:sldId id="646" r:id="rId22"/>
    <p:sldId id="530" r:id="rId23"/>
    <p:sldId id="582" r:id="rId24"/>
    <p:sldId id="584" r:id="rId25"/>
    <p:sldId id="585" r:id="rId26"/>
    <p:sldId id="583" r:id="rId27"/>
    <p:sldId id="586" r:id="rId28"/>
    <p:sldId id="601" r:id="rId29"/>
    <p:sldId id="653" r:id="rId30"/>
    <p:sldId id="662" r:id="rId31"/>
    <p:sldId id="541" r:id="rId32"/>
    <p:sldId id="552" r:id="rId33"/>
    <p:sldId id="558" r:id="rId34"/>
    <p:sldId id="553" r:id="rId35"/>
    <p:sldId id="560" r:id="rId36"/>
    <p:sldId id="556" r:id="rId37"/>
    <p:sldId id="654" r:id="rId38"/>
    <p:sldId id="655" r:id="rId39"/>
    <p:sldId id="656" r:id="rId40"/>
    <p:sldId id="568" r:id="rId41"/>
    <p:sldId id="657" r:id="rId42"/>
    <p:sldId id="570" r:id="rId43"/>
    <p:sldId id="564" r:id="rId44"/>
    <p:sldId id="571" r:id="rId45"/>
    <p:sldId id="572" r:id="rId46"/>
    <p:sldId id="573" r:id="rId47"/>
    <p:sldId id="574" r:id="rId48"/>
    <p:sldId id="645" r:id="rId49"/>
    <p:sldId id="658" r:id="rId50"/>
    <p:sldId id="663" r:id="rId51"/>
    <p:sldId id="664" r:id="rId52"/>
    <p:sldId id="666" r:id="rId53"/>
    <p:sldId id="667" r:id="rId54"/>
    <p:sldId id="668" r:id="rId55"/>
    <p:sldId id="625" r:id="rId56"/>
  </p:sldIdLst>
  <p:sldSz cx="9144000" cy="5143500" type="screen16x9"/>
  <p:notesSz cx="6858000" cy="9144000"/>
  <p:custDataLst>
    <p:tags r:id="rId5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49B568AF-5F4E-4683-BB1F-D5167199C192}">
          <p14:sldIdLst>
            <p14:sldId id="630"/>
            <p14:sldId id="660"/>
            <p14:sldId id="627"/>
            <p14:sldId id="605"/>
            <p14:sldId id="631"/>
            <p14:sldId id="647"/>
            <p14:sldId id="648"/>
            <p14:sldId id="649"/>
            <p14:sldId id="650"/>
            <p14:sldId id="634"/>
            <p14:sldId id="661"/>
            <p14:sldId id="636"/>
            <p14:sldId id="651"/>
            <p14:sldId id="640"/>
            <p14:sldId id="643"/>
            <p14:sldId id="644"/>
            <p14:sldId id="646"/>
            <p14:sldId id="530"/>
            <p14:sldId id="582"/>
            <p14:sldId id="584"/>
            <p14:sldId id="585"/>
            <p14:sldId id="583"/>
            <p14:sldId id="586"/>
            <p14:sldId id="601"/>
            <p14:sldId id="653"/>
            <p14:sldId id="662"/>
            <p14:sldId id="541"/>
            <p14:sldId id="552"/>
            <p14:sldId id="558"/>
            <p14:sldId id="553"/>
            <p14:sldId id="560"/>
            <p14:sldId id="556"/>
            <p14:sldId id="654"/>
            <p14:sldId id="655"/>
            <p14:sldId id="656"/>
            <p14:sldId id="568"/>
            <p14:sldId id="657"/>
            <p14:sldId id="570"/>
            <p14:sldId id="564"/>
            <p14:sldId id="571"/>
            <p14:sldId id="572"/>
            <p14:sldId id="573"/>
            <p14:sldId id="574"/>
            <p14:sldId id="645"/>
            <p14:sldId id="658"/>
            <p14:sldId id="663"/>
            <p14:sldId id="664"/>
            <p14:sldId id="666"/>
            <p14:sldId id="667"/>
            <p14:sldId id="668"/>
            <p14:sldId id="625"/>
          </p14:sldIdLst>
        </p14:section>
        <p14:section name="Templates" id="{9D1A92EC-9683-4766-8E2E-478FF76727A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904">
          <p15:clr>
            <a:srgbClr val="A4A3A4"/>
          </p15:clr>
        </p15:guide>
        <p15:guide id="2" orient="horz" pos="2346">
          <p15:clr>
            <a:srgbClr val="A4A3A4"/>
          </p15:clr>
        </p15:guide>
        <p15:guide id="3" orient="horz" pos="2845">
          <p15:clr>
            <a:srgbClr val="A4A3A4"/>
          </p15:clr>
        </p15:guide>
        <p15:guide id="4" orient="horz" pos="123">
          <p15:clr>
            <a:srgbClr val="A4A3A4"/>
          </p15:clr>
        </p15:guide>
        <p15:guide id="5" orient="horz" pos="1408">
          <p15:clr>
            <a:srgbClr val="A4A3A4"/>
          </p15:clr>
        </p15:guide>
        <p15:guide id="6" orient="horz" pos="972">
          <p15:clr>
            <a:srgbClr val="A4A3A4"/>
          </p15:clr>
        </p15:guide>
        <p15:guide id="7" pos="5511">
          <p15:clr>
            <a:srgbClr val="A4A3A4"/>
          </p15:clr>
        </p15:guide>
        <p15:guide id="8" pos="1313">
          <p15:clr>
            <a:srgbClr val="A4A3A4"/>
          </p15:clr>
        </p15:guide>
        <p15:guide id="9" pos="2372">
          <p15:clr>
            <a:srgbClr val="A4A3A4"/>
          </p15:clr>
        </p15:guide>
        <p15:guide id="10" pos="3424">
          <p15:clr>
            <a:srgbClr val="A4A3A4"/>
          </p15:clr>
        </p15:guide>
        <p15:guide id="11" pos="44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50"/>
    <a:srgbClr val="FFFFFF"/>
    <a:srgbClr val="290042"/>
    <a:srgbClr val="0A5DB1"/>
    <a:srgbClr val="FF8AD8"/>
    <a:srgbClr val="FF85FF"/>
    <a:srgbClr val="D883FF"/>
    <a:srgbClr val="7A81FF"/>
    <a:srgbClr val="76D6FF"/>
    <a:srgbClr val="73FD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–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–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edium Style 4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–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7CE84F3-28C3-443E-9E96-99CF82512B78}" styleName="Dark Style 1 –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–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–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6484" autoAdjust="0"/>
    <p:restoredTop sz="94832"/>
  </p:normalViewPr>
  <p:slideViewPr>
    <p:cSldViewPr showGuides="1">
      <p:cViewPr varScale="1">
        <p:scale>
          <a:sx n="100" d="100"/>
          <a:sy n="100" d="100"/>
        </p:scale>
        <p:origin x="184" y="1320"/>
      </p:cViewPr>
      <p:guideLst>
        <p:guide orient="horz" pos="1904"/>
        <p:guide orient="horz" pos="2346"/>
        <p:guide orient="horz" pos="2845"/>
        <p:guide orient="horz" pos="123"/>
        <p:guide orient="horz" pos="1408"/>
        <p:guide orient="horz" pos="972"/>
        <p:guide pos="5511"/>
        <p:guide pos="1313"/>
        <p:guide pos="2372"/>
        <p:guide pos="3424"/>
        <p:guide pos="44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tags" Target="tags/tag1.xml"/><Relationship Id="rId5" Type="http://schemas.openxmlformats.org/officeDocument/2006/relationships/slideMaster" Target="slideMasters/slideMaster2.xml"/><Relationship Id="rId61" Type="http://schemas.openxmlformats.org/officeDocument/2006/relationships/theme" Target="theme/theme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dirty="0">
              <a:effectLst/>
            </a:rPr>
            <a:t>(Performance, Security, Code quality, Mutation, Memory leakage, Contracts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4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chemeClr val="tx1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</a:t>
          </a:r>
        </a:p>
        <a:p>
          <a:r>
            <a:rPr lang="en-GB" sz="1400" i="1" dirty="0">
              <a:effectLst/>
            </a:rPr>
            <a:t>(and maybe Contracts)</a:t>
          </a:r>
          <a:endParaRPr lang="en-GB" sz="1800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r>
            <a:rPr lang="en-GB" sz="1800" dirty="0">
              <a:effectLst/>
            </a:rPr>
            <a:t>Functional</a:t>
          </a: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r>
            <a:rPr lang="en-GB" sz="1800" dirty="0">
              <a:effectLst/>
            </a:rPr>
            <a:t>Static </a:t>
          </a:r>
        </a:p>
        <a:p>
          <a:r>
            <a:rPr lang="en-GB" sz="1400" i="1" dirty="0">
              <a:effectLst/>
            </a:rPr>
            <a:t>(Performance, Security, Code quality, Mutation, Memory leakage, Accessibility, Snapshots)</a:t>
          </a: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>
            <a:effectLst/>
          </a:endParaRPr>
        </a:p>
        <a:p>
          <a:r>
            <a:rPr lang="en-GB" sz="1800" dirty="0">
              <a:effectLst/>
            </a:rPr>
            <a:t>E2E</a:t>
          </a:r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1800" dirty="0">
              <a:effectLst/>
            </a:rPr>
            <a:t>Unit </a:t>
          </a:r>
        </a:p>
        <a:p>
          <a:r>
            <a:rPr lang="en-GB" sz="1400" i="1" dirty="0">
              <a:effectLst/>
            </a:rPr>
            <a:t>(and maybe Contracts)</a:t>
          </a: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endParaRPr lang="en-GB" sz="1800" dirty="0">
            <a:effectLst/>
          </a:endParaRP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endParaRPr lang="en-GB" sz="1400" i="1" dirty="0">
            <a:effectLst/>
          </a:endParaRP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endParaRPr lang="en-GB" sz="1400" i="1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691D141-C9CD-7A49-8EA6-C19CEFB6AFC9}" type="doc">
      <dgm:prSet loTypeId="urn:microsoft.com/office/officeart/2005/8/layout/pyramid1" loCatId="" qsTypeId="urn:microsoft.com/office/officeart/2005/8/quickstyle/simple5" qsCatId="simple" csTypeId="urn:microsoft.com/office/officeart/2005/8/colors/colorful5" csCatId="colorful" phldr="1"/>
      <dgm:spPr/>
    </dgm:pt>
    <dgm:pt modelId="{14208D6A-4D6F-5B48-BB5B-DDAD2115CE97}">
      <dgm:prSet phldrT="[Text]" custT="1"/>
      <dgm:spPr>
        <a:solidFill>
          <a:srgbClr val="92D050"/>
        </a:solidFill>
      </dgm:spPr>
      <dgm:t>
        <a:bodyPr/>
        <a:lstStyle/>
        <a:p>
          <a:endParaRPr lang="en-GB" sz="1800" dirty="0">
            <a:effectLst/>
          </a:endParaRPr>
        </a:p>
      </dgm:t>
    </dgm:pt>
    <dgm:pt modelId="{F3E55C6F-AC9C-0F4B-992C-10004F5EAEF0}" type="par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3CAB02A3-DEEC-9046-A3D2-01FBE8317A71}" type="sibTrans" cxnId="{3975ABC9-E7D9-7F45-8FF3-F893B023A40A}">
      <dgm:prSet/>
      <dgm:spPr/>
      <dgm:t>
        <a:bodyPr/>
        <a:lstStyle/>
        <a:p>
          <a:endParaRPr lang="en-GB">
            <a:effectLst/>
          </a:endParaRPr>
        </a:p>
      </dgm:t>
    </dgm:pt>
    <dgm:pt modelId="{CE311A0F-82DF-C94E-85C2-DFF4E3A70F6A}">
      <dgm:prSet custT="1"/>
      <dgm:spPr>
        <a:solidFill>
          <a:srgbClr val="FF7E79"/>
        </a:solidFill>
      </dgm:spPr>
      <dgm:t>
        <a:bodyPr/>
        <a:lstStyle/>
        <a:p>
          <a:endParaRPr lang="en-GB" sz="1400" i="1" dirty="0">
            <a:effectLst/>
          </a:endParaRPr>
        </a:p>
      </dgm:t>
    </dgm:pt>
    <dgm:pt modelId="{43857F5A-8510-974B-9745-2B55D39A1ED4}" type="par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FDD71A4C-DCA1-D44C-86DE-6B2E8247B64B}" type="sibTrans" cxnId="{1496C227-4FFA-0D4F-B9AA-F009861F1C28}">
      <dgm:prSet/>
      <dgm:spPr/>
      <dgm:t>
        <a:bodyPr/>
        <a:lstStyle/>
        <a:p>
          <a:endParaRPr lang="en-GB">
            <a:effectLst/>
          </a:endParaRPr>
        </a:p>
      </dgm:t>
    </dgm:pt>
    <dgm:pt modelId="{99AC483F-FE1F-9443-82D1-91F8C0AF0330}">
      <dgm:prSet phldrT="[Text]" custT="1"/>
      <dgm:spPr>
        <a:solidFill>
          <a:srgbClr val="F3C000"/>
        </a:solidFill>
      </dgm:spPr>
      <dgm:t>
        <a:bodyPr/>
        <a:lstStyle/>
        <a:p>
          <a:endParaRPr lang="en-GB" sz="1800" dirty="0"/>
        </a:p>
      </dgm:t>
    </dgm:pt>
    <dgm:pt modelId="{2337A8A7-2D80-D544-82D7-0665444F99A1}" type="parTrans" cxnId="{AC0EC0A5-47FD-634A-9FD2-B339B3617BB6}">
      <dgm:prSet/>
      <dgm:spPr/>
      <dgm:t>
        <a:bodyPr/>
        <a:lstStyle/>
        <a:p>
          <a:endParaRPr lang="en-GB"/>
        </a:p>
      </dgm:t>
    </dgm:pt>
    <dgm:pt modelId="{5808E63C-2DE2-914D-AF13-C8C68C82DF2F}" type="sibTrans" cxnId="{AC0EC0A5-47FD-634A-9FD2-B339B3617BB6}">
      <dgm:prSet/>
      <dgm:spPr/>
      <dgm:t>
        <a:bodyPr/>
        <a:lstStyle/>
        <a:p>
          <a:endParaRPr lang="en-GB"/>
        </a:p>
      </dgm:t>
    </dgm:pt>
    <dgm:pt modelId="{741E8633-7AC3-E146-976D-E89AD6EBC8C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endParaRPr lang="en-GB" sz="1400" i="1" dirty="0">
            <a:effectLst/>
          </a:endParaRPr>
        </a:p>
      </dgm:t>
    </dgm:pt>
    <dgm:pt modelId="{A96A6F96-BBBF-ED4D-9E3F-A0C45AA67D0F}" type="sib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B958FE36-3549-2E43-A105-14B5D16767EA}" type="parTrans" cxnId="{3790A9FC-2CB7-D542-9E1F-EB02AD99D883}">
      <dgm:prSet/>
      <dgm:spPr/>
      <dgm:t>
        <a:bodyPr/>
        <a:lstStyle/>
        <a:p>
          <a:endParaRPr lang="en-GB">
            <a:effectLst/>
          </a:endParaRPr>
        </a:p>
      </dgm:t>
    </dgm:pt>
    <dgm:pt modelId="{D24D4731-C265-A140-B1D4-43FE7AC3FAAF}" type="pres">
      <dgm:prSet presAssocID="{2691D141-C9CD-7A49-8EA6-C19CEFB6AFC9}" presName="Name0" presStyleCnt="0">
        <dgm:presLayoutVars>
          <dgm:dir/>
          <dgm:animLvl val="lvl"/>
          <dgm:resizeHandles val="exact"/>
        </dgm:presLayoutVars>
      </dgm:prSet>
      <dgm:spPr/>
    </dgm:pt>
    <dgm:pt modelId="{0BA01BED-F0FF-C540-A845-69AE46AF24D7}" type="pres">
      <dgm:prSet presAssocID="{99AC483F-FE1F-9443-82D1-91F8C0AF0330}" presName="Name8" presStyleCnt="0"/>
      <dgm:spPr/>
    </dgm:pt>
    <dgm:pt modelId="{223859A0-C5E2-6B46-8D8E-4531F5485350}" type="pres">
      <dgm:prSet presAssocID="{99AC483F-FE1F-9443-82D1-91F8C0AF0330}" presName="level" presStyleLbl="node1" presStyleIdx="0" presStyleCnt="4" custScaleY="67788">
        <dgm:presLayoutVars>
          <dgm:chMax val="1"/>
          <dgm:bulletEnabled val="1"/>
        </dgm:presLayoutVars>
      </dgm:prSet>
      <dgm:spPr/>
    </dgm:pt>
    <dgm:pt modelId="{A5952883-A5BF-E340-A1D3-1A88341E2328}" type="pres">
      <dgm:prSet presAssocID="{99AC483F-FE1F-9443-82D1-91F8C0AF03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96797C6-7D3C-2740-A2BD-99B1E2FC4863}" type="pres">
      <dgm:prSet presAssocID="{14208D6A-4D6F-5B48-BB5B-DDAD2115CE97}" presName="Name8" presStyleCnt="0"/>
      <dgm:spPr/>
    </dgm:pt>
    <dgm:pt modelId="{E914AC51-8F15-D249-9A80-08972B149F11}" type="pres">
      <dgm:prSet presAssocID="{14208D6A-4D6F-5B48-BB5B-DDAD2115CE97}" presName="level" presStyleLbl="node1" presStyleIdx="1" presStyleCnt="4" custScaleY="42042">
        <dgm:presLayoutVars>
          <dgm:chMax val="1"/>
          <dgm:bulletEnabled val="1"/>
        </dgm:presLayoutVars>
      </dgm:prSet>
      <dgm:spPr/>
    </dgm:pt>
    <dgm:pt modelId="{F0B196A5-A44D-FC42-893A-6A1580076119}" type="pres">
      <dgm:prSet presAssocID="{14208D6A-4D6F-5B48-BB5B-DDAD2115CE9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1BBD394-E844-1C44-B314-948D3F330D86}" type="pres">
      <dgm:prSet presAssocID="{741E8633-7AC3-E146-976D-E89AD6EBC8C5}" presName="Name8" presStyleCnt="0"/>
      <dgm:spPr/>
    </dgm:pt>
    <dgm:pt modelId="{403E5BF1-1C5B-FB4F-B99F-D866935E78A8}" type="pres">
      <dgm:prSet presAssocID="{741E8633-7AC3-E146-976D-E89AD6EBC8C5}" presName="level" presStyleLbl="node1" presStyleIdx="2" presStyleCnt="4" custScaleY="47427">
        <dgm:presLayoutVars>
          <dgm:chMax val="1"/>
          <dgm:bulletEnabled val="1"/>
        </dgm:presLayoutVars>
      </dgm:prSet>
      <dgm:spPr/>
    </dgm:pt>
    <dgm:pt modelId="{B48AF8E9-260B-DF4E-A614-C7B24E88EE69}" type="pres">
      <dgm:prSet presAssocID="{741E8633-7AC3-E146-976D-E89AD6EBC8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C492AD-6802-FA4B-997F-996420A397E6}" type="pres">
      <dgm:prSet presAssocID="{CE311A0F-82DF-C94E-85C2-DFF4E3A70F6A}" presName="Name8" presStyleCnt="0"/>
      <dgm:spPr/>
    </dgm:pt>
    <dgm:pt modelId="{5DE7DC48-15D3-6249-8492-4E058DC9C4A8}" type="pres">
      <dgm:prSet presAssocID="{CE311A0F-82DF-C94E-85C2-DFF4E3A70F6A}" presName="level" presStyleLbl="node1" presStyleIdx="3" presStyleCnt="4" custScaleY="74149">
        <dgm:presLayoutVars>
          <dgm:chMax val="1"/>
          <dgm:bulletEnabled val="1"/>
        </dgm:presLayoutVars>
      </dgm:prSet>
      <dgm:spPr/>
    </dgm:pt>
    <dgm:pt modelId="{C97AA80A-900F-C241-BDBE-4CD6D81236FB}" type="pres">
      <dgm:prSet presAssocID="{CE311A0F-82DF-C94E-85C2-DFF4E3A70F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1512025-93FB-5A41-ADDA-D36B82E6FF65}" type="presOf" srcId="{741E8633-7AC3-E146-976D-E89AD6EBC8C5}" destId="{403E5BF1-1C5B-FB4F-B99F-D866935E78A8}" srcOrd="0" destOrd="0" presId="urn:microsoft.com/office/officeart/2005/8/layout/pyramid1"/>
    <dgm:cxn modelId="{1496C227-4FFA-0D4F-B9AA-F009861F1C28}" srcId="{2691D141-C9CD-7A49-8EA6-C19CEFB6AFC9}" destId="{CE311A0F-82DF-C94E-85C2-DFF4E3A70F6A}" srcOrd="3" destOrd="0" parTransId="{43857F5A-8510-974B-9745-2B55D39A1ED4}" sibTransId="{FDD71A4C-DCA1-D44C-86DE-6B2E8247B64B}"/>
    <dgm:cxn modelId="{2BBB474B-B39C-C947-A7A1-B6DB4778A60D}" type="presOf" srcId="{741E8633-7AC3-E146-976D-E89AD6EBC8C5}" destId="{B48AF8E9-260B-DF4E-A614-C7B24E88EE69}" srcOrd="1" destOrd="0" presId="urn:microsoft.com/office/officeart/2005/8/layout/pyramid1"/>
    <dgm:cxn modelId="{27CAF15C-6C1D-714C-88FD-A3F58C73B9ED}" type="presOf" srcId="{14208D6A-4D6F-5B48-BB5B-DDAD2115CE97}" destId="{F0B196A5-A44D-FC42-893A-6A1580076119}" srcOrd="1" destOrd="0" presId="urn:microsoft.com/office/officeart/2005/8/layout/pyramid1"/>
    <dgm:cxn modelId="{06A31D77-3278-8943-9109-46782FBEA69E}" type="presOf" srcId="{99AC483F-FE1F-9443-82D1-91F8C0AF0330}" destId="{A5952883-A5BF-E340-A1D3-1A88341E2328}" srcOrd="1" destOrd="0" presId="urn:microsoft.com/office/officeart/2005/8/layout/pyramid1"/>
    <dgm:cxn modelId="{2B8A9583-A61E-B348-93D4-5ED6E32A0EB4}" type="presOf" srcId="{99AC483F-FE1F-9443-82D1-91F8C0AF0330}" destId="{223859A0-C5E2-6B46-8D8E-4531F5485350}" srcOrd="0" destOrd="0" presId="urn:microsoft.com/office/officeart/2005/8/layout/pyramid1"/>
    <dgm:cxn modelId="{9C138D99-70D7-9146-9EFA-070D0417A0DE}" type="presOf" srcId="{CE311A0F-82DF-C94E-85C2-DFF4E3A70F6A}" destId="{C97AA80A-900F-C241-BDBE-4CD6D81236FB}" srcOrd="1" destOrd="0" presId="urn:microsoft.com/office/officeart/2005/8/layout/pyramid1"/>
    <dgm:cxn modelId="{AC0EC0A5-47FD-634A-9FD2-B339B3617BB6}" srcId="{2691D141-C9CD-7A49-8EA6-C19CEFB6AFC9}" destId="{99AC483F-FE1F-9443-82D1-91F8C0AF0330}" srcOrd="0" destOrd="0" parTransId="{2337A8A7-2D80-D544-82D7-0665444F99A1}" sibTransId="{5808E63C-2DE2-914D-AF13-C8C68C82DF2F}"/>
    <dgm:cxn modelId="{28A67EC3-4C9D-3746-B902-F7E962B7711B}" type="presOf" srcId="{CE311A0F-82DF-C94E-85C2-DFF4E3A70F6A}" destId="{5DE7DC48-15D3-6249-8492-4E058DC9C4A8}" srcOrd="0" destOrd="0" presId="urn:microsoft.com/office/officeart/2005/8/layout/pyramid1"/>
    <dgm:cxn modelId="{3975ABC9-E7D9-7F45-8FF3-F893B023A40A}" srcId="{2691D141-C9CD-7A49-8EA6-C19CEFB6AFC9}" destId="{14208D6A-4D6F-5B48-BB5B-DDAD2115CE97}" srcOrd="1" destOrd="0" parTransId="{F3E55C6F-AC9C-0F4B-992C-10004F5EAEF0}" sibTransId="{3CAB02A3-DEEC-9046-A3D2-01FBE8317A71}"/>
    <dgm:cxn modelId="{3DDE45D0-AFF5-E64E-8B2D-D393BBF8D391}" type="presOf" srcId="{14208D6A-4D6F-5B48-BB5B-DDAD2115CE97}" destId="{E914AC51-8F15-D249-9A80-08972B149F11}" srcOrd="0" destOrd="0" presId="urn:microsoft.com/office/officeart/2005/8/layout/pyramid1"/>
    <dgm:cxn modelId="{F643A3D4-3A30-2B4F-BE05-554BF1CDDE1F}" type="presOf" srcId="{2691D141-C9CD-7A49-8EA6-C19CEFB6AFC9}" destId="{D24D4731-C265-A140-B1D4-43FE7AC3FAAF}" srcOrd="0" destOrd="0" presId="urn:microsoft.com/office/officeart/2005/8/layout/pyramid1"/>
    <dgm:cxn modelId="{3790A9FC-2CB7-D542-9E1F-EB02AD99D883}" srcId="{2691D141-C9CD-7A49-8EA6-C19CEFB6AFC9}" destId="{741E8633-7AC3-E146-976D-E89AD6EBC8C5}" srcOrd="2" destOrd="0" parTransId="{B958FE36-3549-2E43-A105-14B5D16767EA}" sibTransId="{A96A6F96-BBBF-ED4D-9E3F-A0C45AA67D0F}"/>
    <dgm:cxn modelId="{0764C5F9-7315-5845-BF8F-39D40C60DC80}" type="presParOf" srcId="{D24D4731-C265-A140-B1D4-43FE7AC3FAAF}" destId="{0BA01BED-F0FF-C540-A845-69AE46AF24D7}" srcOrd="0" destOrd="0" presId="urn:microsoft.com/office/officeart/2005/8/layout/pyramid1"/>
    <dgm:cxn modelId="{04B463C4-CAFF-5642-829A-B0CDE974D0F4}" type="presParOf" srcId="{0BA01BED-F0FF-C540-A845-69AE46AF24D7}" destId="{223859A0-C5E2-6B46-8D8E-4531F5485350}" srcOrd="0" destOrd="0" presId="urn:microsoft.com/office/officeart/2005/8/layout/pyramid1"/>
    <dgm:cxn modelId="{DB57C9B3-C6B4-E74B-BF82-0DD1FCCAFC6A}" type="presParOf" srcId="{0BA01BED-F0FF-C540-A845-69AE46AF24D7}" destId="{A5952883-A5BF-E340-A1D3-1A88341E2328}" srcOrd="1" destOrd="0" presId="urn:microsoft.com/office/officeart/2005/8/layout/pyramid1"/>
    <dgm:cxn modelId="{1707412F-1DBA-5C43-B05B-D39BC3625F43}" type="presParOf" srcId="{D24D4731-C265-A140-B1D4-43FE7AC3FAAF}" destId="{C96797C6-7D3C-2740-A2BD-99B1E2FC4863}" srcOrd="1" destOrd="0" presId="urn:microsoft.com/office/officeart/2005/8/layout/pyramid1"/>
    <dgm:cxn modelId="{A15F0599-93B8-CC4F-A794-E3B4231525D8}" type="presParOf" srcId="{C96797C6-7D3C-2740-A2BD-99B1E2FC4863}" destId="{E914AC51-8F15-D249-9A80-08972B149F11}" srcOrd="0" destOrd="0" presId="urn:microsoft.com/office/officeart/2005/8/layout/pyramid1"/>
    <dgm:cxn modelId="{38D21E5F-C6CC-8241-904A-D63B4F1A8FF8}" type="presParOf" srcId="{C96797C6-7D3C-2740-A2BD-99B1E2FC4863}" destId="{F0B196A5-A44D-FC42-893A-6A1580076119}" srcOrd="1" destOrd="0" presId="urn:microsoft.com/office/officeart/2005/8/layout/pyramid1"/>
    <dgm:cxn modelId="{53EDD0F0-BB11-D145-AD86-1A67B3E84252}" type="presParOf" srcId="{D24D4731-C265-A140-B1D4-43FE7AC3FAAF}" destId="{71BBD394-E844-1C44-B314-948D3F330D86}" srcOrd="2" destOrd="0" presId="urn:microsoft.com/office/officeart/2005/8/layout/pyramid1"/>
    <dgm:cxn modelId="{1801331E-98FB-6F4D-83A7-D29C837751F9}" type="presParOf" srcId="{71BBD394-E844-1C44-B314-948D3F330D86}" destId="{403E5BF1-1C5B-FB4F-B99F-D866935E78A8}" srcOrd="0" destOrd="0" presId="urn:microsoft.com/office/officeart/2005/8/layout/pyramid1"/>
    <dgm:cxn modelId="{D79B6F10-1642-EB47-9E53-7210A4FB0D06}" type="presParOf" srcId="{71BBD394-E844-1C44-B314-948D3F330D86}" destId="{B48AF8E9-260B-DF4E-A614-C7B24E88EE69}" srcOrd="1" destOrd="0" presId="urn:microsoft.com/office/officeart/2005/8/layout/pyramid1"/>
    <dgm:cxn modelId="{DF8F05E2-56B7-8348-8AA9-ADC66EA5B15A}" type="presParOf" srcId="{D24D4731-C265-A140-B1D4-43FE7AC3FAAF}" destId="{73C492AD-6802-FA4B-997F-996420A397E6}" srcOrd="3" destOrd="0" presId="urn:microsoft.com/office/officeart/2005/8/layout/pyramid1"/>
    <dgm:cxn modelId="{8715F7A4-CCEF-924C-9790-19D055ED0264}" type="presParOf" srcId="{73C492AD-6802-FA4B-997F-996420A397E6}" destId="{5DE7DC48-15D3-6249-8492-4E058DC9C4A8}" srcOrd="0" destOrd="0" presId="urn:microsoft.com/office/officeart/2005/8/layout/pyramid1"/>
    <dgm:cxn modelId="{11B98E1B-0425-BE48-BDED-9C80222C1DEF}" type="presParOf" srcId="{73C492AD-6802-FA4B-997F-996420A397E6}" destId="{C97AA80A-900F-C241-BDBE-4CD6D81236F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effectLst/>
            </a:rPr>
            <a:t>(Performance, Security, Code quality, Mutation, Memory leakage, Contracts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4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  <a:endParaRPr lang="en-GB" sz="1800" kern="1200" dirty="0">
            <a:effectLst/>
          </a:endParaRP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2941955" y="0"/>
          <a:ext cx="2437742" cy="1143697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E2E</a:t>
          </a:r>
          <a:endParaRPr lang="en-GB" sz="1800" kern="1200" dirty="0"/>
        </a:p>
      </dsp:txBody>
      <dsp:txXfrm>
        <a:off x="2941955" y="0"/>
        <a:ext cx="2437742" cy="1143697"/>
      </dsp:txXfrm>
    </dsp:sp>
    <dsp:sp modelId="{E914AC51-8F15-D249-9A80-08972B149F11}">
      <dsp:nvSpPr>
        <dsp:cNvPr id="0" name=""/>
        <dsp:cNvSpPr/>
      </dsp:nvSpPr>
      <dsp:spPr>
        <a:xfrm>
          <a:off x="2186013" y="1143697"/>
          <a:ext cx="3949625" cy="709319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Functional</a:t>
          </a:r>
        </a:p>
      </dsp:txBody>
      <dsp:txXfrm>
        <a:off x="2877198" y="1143697"/>
        <a:ext cx="2567256" cy="709319"/>
      </dsp:txXfrm>
    </dsp:sp>
    <dsp:sp modelId="{403E5BF1-1C5B-FB4F-B99F-D866935E78A8}">
      <dsp:nvSpPr>
        <dsp:cNvPr id="0" name=""/>
        <dsp:cNvSpPr/>
      </dsp:nvSpPr>
      <dsp:spPr>
        <a:xfrm>
          <a:off x="1333246" y="1853016"/>
          <a:ext cx="5655160" cy="800173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Unit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and maybe Contracts)</a:t>
          </a:r>
        </a:p>
      </dsp:txBody>
      <dsp:txXfrm>
        <a:off x="2322899" y="1853016"/>
        <a:ext cx="3675854" cy="800173"/>
      </dsp:txXfrm>
    </dsp:sp>
    <dsp:sp modelId="{5DE7DC48-15D3-6249-8492-4E058DC9C4A8}">
      <dsp:nvSpPr>
        <dsp:cNvPr id="0" name=""/>
        <dsp:cNvSpPr/>
      </dsp:nvSpPr>
      <dsp:spPr>
        <a:xfrm>
          <a:off x="0" y="2653189"/>
          <a:ext cx="8321653" cy="1251018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effectLst/>
            </a:rPr>
            <a:t>Static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i="1" kern="1200" dirty="0">
              <a:effectLst/>
            </a:rPr>
            <a:t>(Performance, Security, Code quality, Mutation, Memory leakage, Accessibility, Snapshots)</a:t>
          </a:r>
        </a:p>
      </dsp:txBody>
      <dsp:txXfrm>
        <a:off x="1456289" y="2653189"/>
        <a:ext cx="5409074" cy="125101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1374678" y="0"/>
          <a:ext cx="1139076" cy="534411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/>
        </a:p>
      </dsp:txBody>
      <dsp:txXfrm>
        <a:off x="1374678" y="0"/>
        <a:ext cx="1139076" cy="534411"/>
      </dsp:txXfrm>
    </dsp:sp>
    <dsp:sp modelId="{E914AC51-8F15-D249-9A80-08972B149F11}">
      <dsp:nvSpPr>
        <dsp:cNvPr id="0" name=""/>
        <dsp:cNvSpPr/>
      </dsp:nvSpPr>
      <dsp:spPr>
        <a:xfrm>
          <a:off x="1021451" y="534411"/>
          <a:ext cx="1845529" cy="331441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</dsp:txBody>
      <dsp:txXfrm>
        <a:off x="1344419" y="534411"/>
        <a:ext cx="1199594" cy="331441"/>
      </dsp:txXfrm>
    </dsp:sp>
    <dsp:sp modelId="{403E5BF1-1C5B-FB4F-B99F-D866935E78A8}">
      <dsp:nvSpPr>
        <dsp:cNvPr id="0" name=""/>
        <dsp:cNvSpPr/>
      </dsp:nvSpPr>
      <dsp:spPr>
        <a:xfrm>
          <a:off x="622981" y="865853"/>
          <a:ext cx="2642469" cy="373894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i="1" kern="1200" dirty="0">
            <a:effectLst/>
          </a:endParaRPr>
        </a:p>
      </dsp:txBody>
      <dsp:txXfrm>
        <a:off x="1085413" y="865853"/>
        <a:ext cx="1717605" cy="373894"/>
      </dsp:txXfrm>
    </dsp:sp>
    <dsp:sp modelId="{5DE7DC48-15D3-6249-8492-4E058DC9C4A8}">
      <dsp:nvSpPr>
        <dsp:cNvPr id="0" name=""/>
        <dsp:cNvSpPr/>
      </dsp:nvSpPr>
      <dsp:spPr>
        <a:xfrm>
          <a:off x="0" y="1239747"/>
          <a:ext cx="3888432" cy="584559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i="1" kern="1200" dirty="0">
            <a:effectLst/>
          </a:endParaRPr>
        </a:p>
      </dsp:txBody>
      <dsp:txXfrm>
        <a:off x="680475" y="1239747"/>
        <a:ext cx="2527481" cy="58455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859A0-C5E2-6B46-8D8E-4531F5485350}">
      <dsp:nvSpPr>
        <dsp:cNvPr id="0" name=""/>
        <dsp:cNvSpPr/>
      </dsp:nvSpPr>
      <dsp:spPr>
        <a:xfrm>
          <a:off x="1374678" y="0"/>
          <a:ext cx="1139076" cy="534411"/>
        </a:xfrm>
        <a:prstGeom prst="trapezoid">
          <a:avLst>
            <a:gd name="adj" fmla="val 106573"/>
          </a:avLst>
        </a:prstGeom>
        <a:solidFill>
          <a:srgbClr val="F3C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/>
        </a:p>
      </dsp:txBody>
      <dsp:txXfrm>
        <a:off x="1374678" y="0"/>
        <a:ext cx="1139076" cy="534411"/>
      </dsp:txXfrm>
    </dsp:sp>
    <dsp:sp modelId="{E914AC51-8F15-D249-9A80-08972B149F11}">
      <dsp:nvSpPr>
        <dsp:cNvPr id="0" name=""/>
        <dsp:cNvSpPr/>
      </dsp:nvSpPr>
      <dsp:spPr>
        <a:xfrm>
          <a:off x="1021451" y="534411"/>
          <a:ext cx="1845529" cy="331441"/>
        </a:xfrm>
        <a:prstGeom prst="trapezoid">
          <a:avLst>
            <a:gd name="adj" fmla="val 106573"/>
          </a:avLst>
        </a:prstGeom>
        <a:solidFill>
          <a:srgbClr val="92D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 dirty="0">
            <a:effectLst/>
          </a:endParaRPr>
        </a:p>
      </dsp:txBody>
      <dsp:txXfrm>
        <a:off x="1344419" y="534411"/>
        <a:ext cx="1199594" cy="331441"/>
      </dsp:txXfrm>
    </dsp:sp>
    <dsp:sp modelId="{403E5BF1-1C5B-FB4F-B99F-D866935E78A8}">
      <dsp:nvSpPr>
        <dsp:cNvPr id="0" name=""/>
        <dsp:cNvSpPr/>
      </dsp:nvSpPr>
      <dsp:spPr>
        <a:xfrm>
          <a:off x="622981" y="865853"/>
          <a:ext cx="2642469" cy="373894"/>
        </a:xfrm>
        <a:prstGeom prst="trapezoid">
          <a:avLst>
            <a:gd name="adj" fmla="val 106573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i="1" kern="1200" dirty="0">
            <a:effectLst/>
          </a:endParaRPr>
        </a:p>
      </dsp:txBody>
      <dsp:txXfrm>
        <a:off x="1085413" y="865853"/>
        <a:ext cx="1717605" cy="373894"/>
      </dsp:txXfrm>
    </dsp:sp>
    <dsp:sp modelId="{5DE7DC48-15D3-6249-8492-4E058DC9C4A8}">
      <dsp:nvSpPr>
        <dsp:cNvPr id="0" name=""/>
        <dsp:cNvSpPr/>
      </dsp:nvSpPr>
      <dsp:spPr>
        <a:xfrm>
          <a:off x="0" y="1239747"/>
          <a:ext cx="3888432" cy="584559"/>
        </a:xfrm>
        <a:prstGeom prst="trapezoid">
          <a:avLst>
            <a:gd name="adj" fmla="val 106573"/>
          </a:avLst>
        </a:prstGeom>
        <a:solidFill>
          <a:srgbClr val="FF7E79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i="1" kern="1200" dirty="0">
            <a:effectLst/>
          </a:endParaRPr>
        </a:p>
      </dsp:txBody>
      <dsp:txXfrm>
        <a:off x="680475" y="1239747"/>
        <a:ext cx="2527481" cy="5845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C14C8-D46C-472D-B82E-57ACC8DDA413}" type="datetimeFigureOut">
              <a:rPr lang="en-US" smtClean="0"/>
              <a:t>10/19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AC69F-B662-4A68-BF84-1E6CAAB30C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574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898358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8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7113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build="p"/>
      <p:bldP spid="8" grpId="0" build="p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4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15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9319178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8347458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074048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5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7" name="Straight Connector 16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254651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 uitl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1763688" cy="51435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2074336" y="186900"/>
            <a:ext cx="668847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2074048" y="347646"/>
            <a:ext cx="668895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078831" y="397886"/>
            <a:ext cx="6692815" cy="210403"/>
            <a:chOff x="2295013" y="532263"/>
            <a:chExt cx="7063733" cy="280537"/>
          </a:xfrm>
        </p:grpSpPr>
        <p:cxnSp>
          <p:nvCxnSpPr>
            <p:cNvPr id="9" name="Straight Connector 8"/>
            <p:cNvCxnSpPr/>
            <p:nvPr/>
          </p:nvCxnSpPr>
          <p:spPr bwMode="auto">
            <a:xfrm>
              <a:off x="2295013" y="812800"/>
              <a:ext cx="6711268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Straight Connector 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901229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079085"/>
            <a:ext cx="8322362" cy="3499364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ü"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Deel 1</a:t>
            </a:r>
          </a:p>
          <a:p>
            <a:pPr lvl="0"/>
            <a:r>
              <a:rPr lang="nl-NL" dirty="0"/>
              <a:t>Deel 2</a:t>
            </a:r>
          </a:p>
          <a:p>
            <a:pPr lvl="0"/>
            <a:r>
              <a:rPr lang="nl-NL" dirty="0"/>
              <a:t>Deel 3</a:t>
            </a:r>
          </a:p>
          <a:p>
            <a:pPr lvl="0"/>
            <a:r>
              <a:rPr lang="nl-NL" dirty="0"/>
              <a:t>Deel 4</a:t>
            </a:r>
          </a:p>
          <a:p>
            <a:pPr lvl="0"/>
            <a:endParaRPr lang="nl-NL" dirty="0"/>
          </a:p>
        </p:txBody>
      </p:sp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7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0603659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bg1"/>
                </a:solidFill>
              </a:rPr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6944917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348855" y="13766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1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348855" y="1766670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2" name="Tijdelijke aanduiding voor tekst 8"/>
          <p:cNvSpPr>
            <a:spLocks noGrp="1"/>
          </p:cNvSpPr>
          <p:nvPr>
            <p:ph type="body" sz="quarter" idx="20" hasCustomPrompt="1"/>
          </p:nvPr>
        </p:nvSpPr>
        <p:spPr>
          <a:xfrm>
            <a:off x="348855" y="2156699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3" name="Tijdelijke aanduiding voor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348855" y="2546727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51087" y="2936756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23" hasCustomPrompt="1"/>
          </p:nvPr>
        </p:nvSpPr>
        <p:spPr>
          <a:xfrm>
            <a:off x="351087" y="3326784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5" name="Tijdelijke aanduiding voor tekst 8"/>
          <p:cNvSpPr>
            <a:spLocks noGrp="1"/>
          </p:cNvSpPr>
          <p:nvPr>
            <p:ph type="body" sz="quarter" idx="24" hasCustomPrompt="1"/>
          </p:nvPr>
        </p:nvSpPr>
        <p:spPr>
          <a:xfrm>
            <a:off x="351087" y="3716813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5" hasCustomPrompt="1"/>
          </p:nvPr>
        </p:nvSpPr>
        <p:spPr>
          <a:xfrm>
            <a:off x="351087" y="4106842"/>
            <a:ext cx="8322362" cy="30613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7" name="Ti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49141" y="186890"/>
            <a:ext cx="8409682" cy="15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ndex</a:t>
            </a:r>
          </a:p>
        </p:txBody>
      </p:sp>
      <p:sp>
        <p:nvSpPr>
          <p:cNvPr id="21" name="Tijdelijke aanduiding voor tekst 13"/>
          <p:cNvSpPr>
            <a:spLocks noGrp="1"/>
          </p:cNvSpPr>
          <p:nvPr>
            <p:ph type="body" sz="quarter" idx="26" hasCustomPrompt="1"/>
            <p:custDataLst>
              <p:tags r:id="rId2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&lt;presentatietitel&gt;</a:t>
            </a:r>
            <a:endParaRPr lang="nl-NL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92854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039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49141" y="186890"/>
            <a:ext cx="840968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48854" y="347646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349142" y="1075881"/>
            <a:ext cx="8402263" cy="3577919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8871956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0" y="186900"/>
            <a:ext cx="8418362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47646"/>
            <a:ext cx="841896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349141" y="1073428"/>
            <a:ext cx="4026561" cy="3580371"/>
          </a:xfrm>
        </p:spPr>
        <p:txBody>
          <a:bodyPr/>
          <a:lstStyle>
            <a:lvl1pPr>
              <a:defRPr/>
            </a:lvl1pPr>
            <a:lvl2pPr marL="561961" marR="0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marL="561961" marR="0" lvl="1" indent="-289315" algn="l" defTabSz="68578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86"/>
              </a:buClr>
              <a:buSzPct val="13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4C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" name="Tijdelijke aanduiding voor tekst 8"/>
          <p:cNvSpPr>
            <a:spLocks noGrp="1"/>
          </p:cNvSpPr>
          <p:nvPr>
            <p:ph type="body" sz="quarter" idx="19"/>
          </p:nvPr>
        </p:nvSpPr>
        <p:spPr>
          <a:xfrm>
            <a:off x="4709936" y="1073428"/>
            <a:ext cx="402656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3" name="Straight Connector 1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946941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25" y="252000"/>
            <a:ext cx="1496010" cy="360000"/>
          </a:xfrm>
          <a:prstGeom prst="rect">
            <a:avLst/>
          </a:prstGeom>
        </p:spPr>
      </p:pic>
      <p:sp>
        <p:nvSpPr>
          <p:cNvPr id="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0011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 - witt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114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"/>
            <a:ext cx="9144001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356028"/>
            <a:ext cx="8649809" cy="1983641"/>
          </a:xfrm>
        </p:spPr>
        <p:txBody>
          <a:bodyPr/>
          <a:lstStyle>
            <a:lvl1pPr>
              <a:defRPr sz="4500" b="1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6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8263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618011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61863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1278733" y="1059659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7" name="Tijdelijke aanduiding voor afbeelding 10"/>
          <p:cNvSpPr>
            <a:spLocks noGrp="1"/>
          </p:cNvSpPr>
          <p:nvPr>
            <p:ph type="pic" sz="quarter" idx="23" hasCustomPrompt="1"/>
          </p:nvPr>
        </p:nvSpPr>
        <p:spPr>
          <a:xfrm>
            <a:off x="6457949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9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001807" y="3375313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1560910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4" name="Tijdelijke aanduiding voor tekst 26"/>
          <p:cNvSpPr>
            <a:spLocks noGrp="1"/>
          </p:cNvSpPr>
          <p:nvPr>
            <p:ph type="body" sz="quarter" idx="28" hasCustomPrompt="1"/>
          </p:nvPr>
        </p:nvSpPr>
        <p:spPr>
          <a:xfrm>
            <a:off x="6740126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1001807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7" name="Tijdelijke aanduiding voor tekst 8"/>
          <p:cNvSpPr>
            <a:spLocks noGrp="1"/>
          </p:cNvSpPr>
          <p:nvPr>
            <p:ph type="body" sz="quarter" idx="31" hasCustomPrompt="1"/>
          </p:nvPr>
        </p:nvSpPr>
        <p:spPr>
          <a:xfrm>
            <a:off x="6181016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79" name="Tijdelijke aanduiding voor tekst 8"/>
          <p:cNvSpPr>
            <a:spLocks noGrp="1"/>
          </p:cNvSpPr>
          <p:nvPr>
            <p:ph type="body" sz="quarter" idx="32" hasCustomPrompt="1"/>
          </p:nvPr>
        </p:nvSpPr>
        <p:spPr>
          <a:xfrm>
            <a:off x="1001807" y="2957393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2" name="Tijdelijke aanduiding voor tekst 8"/>
          <p:cNvSpPr>
            <a:spLocks noGrp="1"/>
          </p:cNvSpPr>
          <p:nvPr>
            <p:ph type="body" sz="quarter" idx="35" hasCustomPrompt="1"/>
          </p:nvPr>
        </p:nvSpPr>
        <p:spPr>
          <a:xfrm>
            <a:off x="1001807" y="3155726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86" name="Tijdelijke aanduiding voor tekst 8"/>
          <p:cNvSpPr>
            <a:spLocks noGrp="1"/>
          </p:cNvSpPr>
          <p:nvPr>
            <p:ph type="body" sz="quarter" idx="39"/>
          </p:nvPr>
        </p:nvSpPr>
        <p:spPr>
          <a:xfrm>
            <a:off x="6171194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87" name="Tijdelijke aanduiding voor tekst 8"/>
          <p:cNvSpPr>
            <a:spLocks noGrp="1"/>
          </p:cNvSpPr>
          <p:nvPr>
            <p:ph type="body" sz="quarter" idx="40" hasCustomPrompt="1"/>
          </p:nvPr>
        </p:nvSpPr>
        <p:spPr>
          <a:xfrm>
            <a:off x="6171194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88" name="Tijdelijke aanduiding voor tekst 8"/>
          <p:cNvSpPr>
            <a:spLocks noGrp="1"/>
          </p:cNvSpPr>
          <p:nvPr>
            <p:ph type="body" sz="quarter" idx="41" hasCustomPrompt="1"/>
          </p:nvPr>
        </p:nvSpPr>
        <p:spPr>
          <a:xfrm>
            <a:off x="6171194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9" name="Straight Connector 2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1855135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531207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646"/>
            <a:ext cx="8531822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1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257175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5161360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20" name="Tijdelijke aanduiding voor tekst 26"/>
          <p:cNvSpPr>
            <a:spLocks noGrp="1"/>
          </p:cNvSpPr>
          <p:nvPr>
            <p:ph type="body" sz="quarter" idx="26" hasCustomPrompt="1"/>
          </p:nvPr>
        </p:nvSpPr>
        <p:spPr>
          <a:xfrm>
            <a:off x="2853929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3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5443537" y="2869051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25" name="Tijdelijke aanduiding voor tekst 8"/>
          <p:cNvSpPr>
            <a:spLocks noGrp="1"/>
          </p:cNvSpPr>
          <p:nvPr>
            <p:ph type="body" sz="quarter" idx="29" hasCustomPrompt="1"/>
          </p:nvPr>
        </p:nvSpPr>
        <p:spPr>
          <a:xfrm>
            <a:off x="2294825" y="2603248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26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4884431" y="2604144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15" name="Tijdelijke aanduiding voor tekst 8"/>
          <p:cNvSpPr>
            <a:spLocks noGrp="1"/>
          </p:cNvSpPr>
          <p:nvPr>
            <p:ph type="body" sz="quarter" idx="42"/>
          </p:nvPr>
        </p:nvSpPr>
        <p:spPr>
          <a:xfrm>
            <a:off x="4884431" y="3379825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6" name="Tijdelijke aanduiding voor tekst 8"/>
          <p:cNvSpPr>
            <a:spLocks noGrp="1"/>
          </p:cNvSpPr>
          <p:nvPr>
            <p:ph type="body" sz="quarter" idx="43" hasCustomPrompt="1"/>
          </p:nvPr>
        </p:nvSpPr>
        <p:spPr>
          <a:xfrm>
            <a:off x="4884431" y="2961905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17" name="Tijdelijke aanduiding voor tekst 8"/>
          <p:cNvSpPr>
            <a:spLocks noGrp="1"/>
          </p:cNvSpPr>
          <p:nvPr>
            <p:ph type="body" sz="quarter" idx="44" hasCustomPrompt="1"/>
          </p:nvPr>
        </p:nvSpPr>
        <p:spPr>
          <a:xfrm>
            <a:off x="4884431" y="3160238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sp>
        <p:nvSpPr>
          <p:cNvPr id="118" name="Tijdelijke aanduiding voor tekst 8"/>
          <p:cNvSpPr>
            <a:spLocks noGrp="1"/>
          </p:cNvSpPr>
          <p:nvPr>
            <p:ph type="body" sz="quarter" idx="45"/>
          </p:nvPr>
        </p:nvSpPr>
        <p:spPr>
          <a:xfrm>
            <a:off x="2294825" y="3382081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19" name="Tijdelijke aanduiding voor tekst 8"/>
          <p:cNvSpPr>
            <a:spLocks noGrp="1"/>
          </p:cNvSpPr>
          <p:nvPr>
            <p:ph type="body" sz="quarter" idx="46" hasCustomPrompt="1"/>
          </p:nvPr>
        </p:nvSpPr>
        <p:spPr>
          <a:xfrm>
            <a:off x="2294825" y="2964161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20" name="Tijdelijke aanduiding voor tekst 8"/>
          <p:cNvSpPr>
            <a:spLocks noGrp="1"/>
          </p:cNvSpPr>
          <p:nvPr>
            <p:ph type="body" sz="quarter" idx="47" hasCustomPrompt="1"/>
          </p:nvPr>
        </p:nvSpPr>
        <p:spPr>
          <a:xfrm>
            <a:off x="2294825" y="3162494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4916021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voorstelslide - 1 per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583290" cy="158290"/>
          </a:xfrm>
        </p:spPr>
        <p:txBody>
          <a:bodyPr>
            <a:noAutofit/>
          </a:bodyPr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583908" cy="215100"/>
          </a:xfrm>
        </p:spPr>
        <p:txBody>
          <a:bodyPr anchor="t"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2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868341" y="1059657"/>
            <a:ext cx="1407319" cy="140732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90500" dist="50800" dir="13500000">
              <a:prstClr val="black">
                <a:alpha val="1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01" name="Tijdelijke aanduiding voor tekst 26"/>
          <p:cNvSpPr>
            <a:spLocks noGrp="1"/>
          </p:cNvSpPr>
          <p:nvPr>
            <p:ph type="body" sz="quarter" idx="27" hasCustomPrompt="1"/>
          </p:nvPr>
        </p:nvSpPr>
        <p:spPr>
          <a:xfrm>
            <a:off x="4150518" y="2869052"/>
            <a:ext cx="842963" cy="135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nl-NL"/>
              <a:t>ee</a:t>
            </a:r>
          </a:p>
        </p:txBody>
      </p:sp>
      <p:sp>
        <p:nvSpPr>
          <p:cNvPr id="102" name="Tijdelijke aanduiding voor tekst 8"/>
          <p:cNvSpPr>
            <a:spLocks noGrp="1"/>
          </p:cNvSpPr>
          <p:nvPr>
            <p:ph type="body" sz="quarter" idx="30" hasCustomPrompt="1"/>
          </p:nvPr>
        </p:nvSpPr>
        <p:spPr>
          <a:xfrm>
            <a:off x="3591412" y="2604145"/>
            <a:ext cx="1961175" cy="205772"/>
          </a:xfrm>
        </p:spPr>
        <p:txBody>
          <a:bodyPr>
            <a:noAutofit/>
          </a:bodyPr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nl-NL" dirty="0"/>
              <a:t>Voeg hier uw naam in</a:t>
            </a:r>
          </a:p>
        </p:txBody>
      </p:sp>
      <p:sp>
        <p:nvSpPr>
          <p:cNvPr id="103" name="Tijdelijke aanduiding voor tekst 8"/>
          <p:cNvSpPr>
            <a:spLocks noGrp="1"/>
          </p:cNvSpPr>
          <p:nvPr>
            <p:ph type="body" sz="quarter" idx="36"/>
          </p:nvPr>
        </p:nvSpPr>
        <p:spPr>
          <a:xfrm>
            <a:off x="3591412" y="3377569"/>
            <a:ext cx="1961175" cy="1288502"/>
          </a:xfrm>
        </p:spPr>
        <p:txBody>
          <a:bodyPr>
            <a:noAutofit/>
          </a:bodyPr>
          <a:lstStyle>
            <a:lvl1pPr algn="l">
              <a:defRPr sz="900"/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  <a:lvl6pPr algn="l">
              <a:defRPr sz="900"/>
            </a:lvl6pPr>
            <a:lvl7pPr algn="l">
              <a:defRPr sz="900"/>
            </a:lvl7pPr>
            <a:lvl8pPr algn="l">
              <a:defRPr sz="900"/>
            </a:lvl8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Tijdelijke aanduiding voor tekst 8"/>
          <p:cNvSpPr>
            <a:spLocks noGrp="1"/>
          </p:cNvSpPr>
          <p:nvPr>
            <p:ph type="body" sz="quarter" idx="37" hasCustomPrompt="1"/>
          </p:nvPr>
        </p:nvSpPr>
        <p:spPr>
          <a:xfrm>
            <a:off x="3591412" y="2959649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Mailadres  </a:t>
            </a:r>
            <a:br>
              <a:rPr lang="nl-NL" dirty="0"/>
            </a:br>
            <a:endParaRPr lang="nl-NL" dirty="0"/>
          </a:p>
        </p:txBody>
      </p:sp>
      <p:sp>
        <p:nvSpPr>
          <p:cNvPr id="105" name="Tijdelijke aanduiding voor tekst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1412" y="3157982"/>
            <a:ext cx="1961175" cy="150065"/>
          </a:xfrm>
        </p:spPr>
        <p:txBody>
          <a:bodyPr>
            <a:noAutofit/>
          </a:bodyPr>
          <a:lstStyle>
            <a:lvl1pPr marL="0" indent="0" algn="ctr">
              <a:buNone/>
              <a:defRPr sz="900" b="0" baseline="0"/>
            </a:lvl1pPr>
          </a:lstStyle>
          <a:p>
            <a:pPr lvl="0"/>
            <a:r>
              <a:rPr lang="nl-NL" dirty="0"/>
              <a:t>Telefoonnummer  </a:t>
            </a:r>
            <a:br>
              <a:rPr lang="nl-NL" dirty="0"/>
            </a:br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5" name="Straight Connector 1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Straight Connector 1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7730772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5211236" y="1075970"/>
            <a:ext cx="3577955" cy="1709472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1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91809"/>
            <a:ext cx="844440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6" y="352632"/>
            <a:ext cx="8445011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3036536"/>
            <a:ext cx="3577956" cy="161726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4174676" y="3036536"/>
            <a:ext cx="4614515" cy="161726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3" y="1075970"/>
            <a:ext cx="4614516" cy="170947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0212622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136839" y="1086195"/>
            <a:ext cx="2652350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1" y="186900"/>
            <a:ext cx="8479125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7973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1084454"/>
            <a:ext cx="2638872" cy="109578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3240272" y="2444240"/>
            <a:ext cx="2644020" cy="2209673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348854" y="2440156"/>
            <a:ext cx="2638873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240272" y="1082659"/>
            <a:ext cx="2644019" cy="10927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6136838" y="2440156"/>
            <a:ext cx="2644019" cy="221364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8944104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- 4 - voors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349899" y="1082446"/>
            <a:ext cx="1247027" cy="69611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8427043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15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348854" y="2030574"/>
            <a:ext cx="1248835" cy="70144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6" name="Tijdelijke aanduiding voor tekst 8"/>
          <p:cNvSpPr>
            <a:spLocks noGrp="1"/>
          </p:cNvSpPr>
          <p:nvPr>
            <p:ph type="body" sz="quarter" idx="20"/>
          </p:nvPr>
        </p:nvSpPr>
        <p:spPr>
          <a:xfrm>
            <a:off x="1841854" y="2030574"/>
            <a:ext cx="6947336" cy="70144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1" name="Tijdelijke aanduiding voor tekst 8"/>
          <p:cNvSpPr>
            <a:spLocks noGrp="1"/>
          </p:cNvSpPr>
          <p:nvPr>
            <p:ph type="body" sz="quarter" idx="21"/>
          </p:nvPr>
        </p:nvSpPr>
        <p:spPr>
          <a:xfrm>
            <a:off x="1841853" y="1073427"/>
            <a:ext cx="6910978" cy="6858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29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352697" y="2985470"/>
            <a:ext cx="1245390" cy="70738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 AFBEELDING IN TE VOEGEN</a:t>
            </a:r>
          </a:p>
        </p:txBody>
      </p:sp>
      <p:sp>
        <p:nvSpPr>
          <p:cNvPr id="30" name="Tijdelijke aanduiding voor tekst 8"/>
          <p:cNvSpPr>
            <a:spLocks noGrp="1"/>
          </p:cNvSpPr>
          <p:nvPr>
            <p:ph type="body" sz="quarter" idx="23"/>
          </p:nvPr>
        </p:nvSpPr>
        <p:spPr>
          <a:xfrm>
            <a:off x="1841854" y="2985469"/>
            <a:ext cx="6955981" cy="684182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34" name="Tijdelijke aanduiding voor afbeelding 10"/>
          <p:cNvSpPr>
            <a:spLocks noGrp="1"/>
          </p:cNvSpPr>
          <p:nvPr>
            <p:ph type="pic" sz="quarter" idx="24" hasCustomPrompt="1"/>
          </p:nvPr>
        </p:nvSpPr>
        <p:spPr>
          <a:xfrm>
            <a:off x="348856" y="3944868"/>
            <a:ext cx="1248071" cy="7051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35" name="Tijdelijke aanduiding voor tekst 8"/>
          <p:cNvSpPr>
            <a:spLocks noGrp="1"/>
          </p:cNvSpPr>
          <p:nvPr>
            <p:ph type="body" sz="quarter" idx="25"/>
          </p:nvPr>
        </p:nvSpPr>
        <p:spPr>
          <a:xfrm>
            <a:off x="1841854" y="3944868"/>
            <a:ext cx="6947336" cy="705136"/>
          </a:xfrm>
        </p:spPr>
        <p:txBody>
          <a:bodyPr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740940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3" y="188886"/>
            <a:ext cx="8409682" cy="158290"/>
          </a:xfrm>
        </p:spPr>
        <p:txBody>
          <a:bodyPr vert="horz" lIns="0" tIns="0" rIns="0" bIns="0" rtlCol="0" anchor="t">
            <a:noAutofit/>
          </a:bodyPr>
          <a:lstStyle>
            <a:lvl1pPr>
              <a:defRPr lang="nl-NL" sz="9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410288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2831258" y="1898568"/>
            <a:ext cx="3418995" cy="1958072"/>
            <a:chOff x="704" y="364"/>
            <a:chExt cx="6272" cy="3592"/>
          </a:xfrm>
        </p:grpSpPr>
        <p:sp>
          <p:nvSpPr>
            <p:cNvPr id="4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6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7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8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3305872" y="2013141"/>
            <a:ext cx="2420906" cy="152453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91" name="Tijdelijke aanduiding voor tekst 5"/>
          <p:cNvSpPr>
            <a:spLocks noGrp="1"/>
          </p:cNvSpPr>
          <p:nvPr>
            <p:ph type="body" sz="quarter" idx="23"/>
          </p:nvPr>
        </p:nvSpPr>
        <p:spPr>
          <a:xfrm>
            <a:off x="363591" y="1569246"/>
            <a:ext cx="1784747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2" name="Tijdelijke aanduiding voor tekst 5"/>
          <p:cNvSpPr>
            <a:spLocks noGrp="1"/>
          </p:cNvSpPr>
          <p:nvPr>
            <p:ph type="body" sz="quarter" idx="26"/>
          </p:nvPr>
        </p:nvSpPr>
        <p:spPr>
          <a:xfrm>
            <a:off x="381001" y="2519924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3" name="Tijdelijke aanduiding voor tekst 5"/>
          <p:cNvSpPr>
            <a:spLocks noGrp="1"/>
          </p:cNvSpPr>
          <p:nvPr>
            <p:ph type="body" sz="quarter" idx="27"/>
          </p:nvPr>
        </p:nvSpPr>
        <p:spPr>
          <a:xfrm>
            <a:off x="381001" y="3534680"/>
            <a:ext cx="1767332" cy="72002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b="1"/>
            </a:lvl1pPr>
            <a:lvl2pPr marL="233351" indent="0" algn="r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94" name="Tijdelijke aanduiding voor tekst 5"/>
          <p:cNvSpPr>
            <a:spLocks noGrp="1"/>
          </p:cNvSpPr>
          <p:nvPr>
            <p:ph type="body" sz="quarter" idx="28"/>
          </p:nvPr>
        </p:nvSpPr>
        <p:spPr>
          <a:xfrm>
            <a:off x="6999340" y="1569246"/>
            <a:ext cx="1795415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2" name="Tijdelijke aanduiding voor tekst 5"/>
          <p:cNvSpPr>
            <a:spLocks noGrp="1"/>
          </p:cNvSpPr>
          <p:nvPr>
            <p:ph type="body" sz="quarter" idx="29"/>
          </p:nvPr>
        </p:nvSpPr>
        <p:spPr>
          <a:xfrm>
            <a:off x="7016755" y="2519924"/>
            <a:ext cx="1777897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03" name="Tijdelijke aanduiding voor tekst 5"/>
          <p:cNvSpPr>
            <a:spLocks noGrp="1"/>
          </p:cNvSpPr>
          <p:nvPr>
            <p:ph type="body" sz="quarter" idx="30"/>
          </p:nvPr>
        </p:nvSpPr>
        <p:spPr>
          <a:xfrm>
            <a:off x="7016752" y="3534680"/>
            <a:ext cx="1778000" cy="72002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b="1"/>
            </a:lvl1pPr>
            <a:lvl2pPr marL="0" indent="0" algn="l">
              <a:buFont typeface="Arial" panose="020B0604020202020204" pitchFamily="34" charset="0"/>
              <a:buNone/>
              <a:defRPr b="0"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3" name="Straight Connector 32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3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513197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9756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jdelijke aanduiding voor tekst 8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349142" y="1073428"/>
            <a:ext cx="2488301" cy="35803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</p:txBody>
      </p:sp>
      <p:sp>
        <p:nvSpPr>
          <p:cNvPr id="106" name="Rectangle 7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41" name="Tijdelijke aanduiding voor tekst 13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48855" y="347569"/>
            <a:ext cx="8427650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142" name="Group 141"/>
          <p:cNvGrpSpPr/>
          <p:nvPr userDrawn="1">
            <p:custDataLst>
              <p:tags r:id="rId5"/>
            </p:custDataLst>
          </p:nvPr>
        </p:nvGrpSpPr>
        <p:grpSpPr>
          <a:xfrm>
            <a:off x="347663" y="397918"/>
            <a:ext cx="8411896" cy="210403"/>
            <a:chOff x="403647" y="532263"/>
            <a:chExt cx="8955099" cy="280537"/>
          </a:xfrm>
        </p:grpSpPr>
        <p:cxnSp>
          <p:nvCxnSpPr>
            <p:cNvPr id="143" name="Straight Connector 142"/>
            <p:cNvCxnSpPr/>
            <p:nvPr userDrawn="1"/>
          </p:nvCxnSpPr>
          <p:spPr bwMode="auto">
            <a:xfrm>
              <a:off x="403647" y="812800"/>
              <a:ext cx="860263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3066751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10446653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4" name="Rectangle 7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8" name="Straight Connector 1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12793009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4" name="Straight Connector 3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4420780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6900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7646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3975209" cy="356801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4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18262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607725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4" y="347172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9142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101" name="Rectangle 7"/>
          <p:cNvSpPr txBox="1">
            <a:spLocks noChangeArrowheads="1"/>
          </p:cNvSpPr>
          <p:nvPr userDrawn="1"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1670827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75% -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"/>
            <a:ext cx="6077250" cy="51434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25648" y="200912"/>
            <a:ext cx="24884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425361" y="359200"/>
            <a:ext cx="2488588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sp>
        <p:nvSpPr>
          <p:cNvPr id="23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425648" y="1073428"/>
            <a:ext cx="2488301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6426994" y="608289"/>
            <a:ext cx="201069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 flipV="1">
            <a:off x="8437688" y="397887"/>
            <a:ext cx="333957" cy="21040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928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4096345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50% -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922802" y="188884"/>
            <a:ext cx="397520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4922514" y="349630"/>
            <a:ext cx="397549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4922802" y="1073428"/>
            <a:ext cx="3975209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4922044" y="397886"/>
            <a:ext cx="3849602" cy="210403"/>
            <a:chOff x="5295798" y="532263"/>
            <a:chExt cx="406294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5295798" y="812800"/>
              <a:ext cx="371048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428455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Tekst (25% -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66750" cy="51435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AFBEELDING IN TE VOEG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414380" y="188884"/>
            <a:ext cx="5480243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24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14092" y="349630"/>
            <a:ext cx="5480637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2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3414380" y="1073428"/>
            <a:ext cx="5480243" cy="3580371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18113" y="397886"/>
            <a:ext cx="5353531" cy="210403"/>
            <a:chOff x="3708520" y="532263"/>
            <a:chExt cx="5650226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3708520" y="812800"/>
              <a:ext cx="529776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Straight Connector 10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0627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 userDrawn="1"/>
        </p:nvGrpSpPr>
        <p:grpSpPr bwMode="auto">
          <a:xfrm>
            <a:off x="1543050" y="1086954"/>
            <a:ext cx="6057900" cy="3469382"/>
            <a:chOff x="704" y="364"/>
            <a:chExt cx="6272" cy="3592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704" y="364"/>
              <a:ext cx="6272" cy="3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773" y="511"/>
              <a:ext cx="6201" cy="3447"/>
            </a:xfrm>
            <a:custGeom>
              <a:avLst/>
              <a:gdLst>
                <a:gd name="T0" fmla="*/ 2622 w 2622"/>
                <a:gd name="T1" fmla="*/ 1326 h 1457"/>
                <a:gd name="T2" fmla="*/ 2594 w 2622"/>
                <a:gd name="T3" fmla="*/ 1326 h 1457"/>
                <a:gd name="T4" fmla="*/ 2594 w 2622"/>
                <a:gd name="T5" fmla="*/ 1358 h 1457"/>
                <a:gd name="T6" fmla="*/ 2563 w 2622"/>
                <a:gd name="T7" fmla="*/ 1360 h 1457"/>
                <a:gd name="T8" fmla="*/ 2251 w 2622"/>
                <a:gd name="T9" fmla="*/ 1360 h 1457"/>
                <a:gd name="T10" fmla="*/ 2217 w 2622"/>
                <a:gd name="T11" fmla="*/ 1367 h 1457"/>
                <a:gd name="T12" fmla="*/ 348 w 2622"/>
                <a:gd name="T13" fmla="*/ 1367 h 1457"/>
                <a:gd name="T14" fmla="*/ 315 w 2622"/>
                <a:gd name="T15" fmla="*/ 1360 h 1457"/>
                <a:gd name="T16" fmla="*/ 3 w 2622"/>
                <a:gd name="T17" fmla="*/ 1360 h 1457"/>
                <a:gd name="T18" fmla="*/ 0 w 2622"/>
                <a:gd name="T19" fmla="*/ 1360 h 1457"/>
                <a:gd name="T20" fmla="*/ 0 w 2622"/>
                <a:gd name="T21" fmla="*/ 1375 h 1457"/>
                <a:gd name="T22" fmla="*/ 0 w 2622"/>
                <a:gd name="T23" fmla="*/ 1397 h 1457"/>
                <a:gd name="T24" fmla="*/ 0 w 2622"/>
                <a:gd name="T25" fmla="*/ 1400 h 1457"/>
                <a:gd name="T26" fmla="*/ 0 w 2622"/>
                <a:gd name="T27" fmla="*/ 1401 h 1457"/>
                <a:gd name="T28" fmla="*/ 0 w 2622"/>
                <a:gd name="T29" fmla="*/ 1402 h 1457"/>
                <a:gd name="T30" fmla="*/ 2 w 2622"/>
                <a:gd name="T31" fmla="*/ 1402 h 1457"/>
                <a:gd name="T32" fmla="*/ 89 w 2622"/>
                <a:gd name="T33" fmla="*/ 1457 h 1457"/>
                <a:gd name="T34" fmla="*/ 100 w 2622"/>
                <a:gd name="T35" fmla="*/ 1457 h 1457"/>
                <a:gd name="T36" fmla="*/ 1311 w 2622"/>
                <a:gd name="T37" fmla="*/ 1456 h 1457"/>
                <a:gd name="T38" fmla="*/ 2350 w 2622"/>
                <a:gd name="T39" fmla="*/ 1457 h 1457"/>
                <a:gd name="T40" fmla="*/ 2542 w 2622"/>
                <a:gd name="T41" fmla="*/ 1457 h 1457"/>
                <a:gd name="T42" fmla="*/ 2621 w 2622"/>
                <a:gd name="T43" fmla="*/ 1402 h 1457"/>
                <a:gd name="T44" fmla="*/ 2622 w 2622"/>
                <a:gd name="T45" fmla="*/ 1402 h 1457"/>
                <a:gd name="T46" fmla="*/ 2622 w 2622"/>
                <a:gd name="T47" fmla="*/ 1401 h 1457"/>
                <a:gd name="T48" fmla="*/ 2622 w 2622"/>
                <a:gd name="T49" fmla="*/ 1401 h 1457"/>
                <a:gd name="T50" fmla="*/ 2622 w 2622"/>
                <a:gd name="T51" fmla="*/ 1397 h 1457"/>
                <a:gd name="T52" fmla="*/ 2622 w 2622"/>
                <a:gd name="T53" fmla="*/ 1375 h 1457"/>
                <a:gd name="T54" fmla="*/ 2622 w 2622"/>
                <a:gd name="T55" fmla="*/ 1326 h 1457"/>
                <a:gd name="T56" fmla="*/ 2298 w 2622"/>
                <a:gd name="T57" fmla="*/ 0 h 1457"/>
                <a:gd name="T58" fmla="*/ 2301 w 2622"/>
                <a:gd name="T59" fmla="*/ 21 h 1457"/>
                <a:gd name="T60" fmla="*/ 2301 w 2622"/>
                <a:gd name="T61" fmla="*/ 1282 h 1457"/>
                <a:gd name="T62" fmla="*/ 2329 w 2622"/>
                <a:gd name="T63" fmla="*/ 1282 h 1457"/>
                <a:gd name="T64" fmla="*/ 2329 w 2622"/>
                <a:gd name="T65" fmla="*/ 65 h 1457"/>
                <a:gd name="T66" fmla="*/ 2308 w 2622"/>
                <a:gd name="T67" fmla="*/ 10 h 1457"/>
                <a:gd name="T68" fmla="*/ 2308 w 2622"/>
                <a:gd name="T69" fmla="*/ 10 h 1457"/>
                <a:gd name="T70" fmla="*/ 2308 w 2622"/>
                <a:gd name="T71" fmla="*/ 10 h 1457"/>
                <a:gd name="T72" fmla="*/ 2302 w 2622"/>
                <a:gd name="T73" fmla="*/ 4 h 1457"/>
                <a:gd name="T74" fmla="*/ 2302 w 2622"/>
                <a:gd name="T75" fmla="*/ 3 h 1457"/>
                <a:gd name="T76" fmla="*/ 2298 w 2622"/>
                <a:gd name="T77" fmla="*/ 0 h 1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22" h="1457">
                  <a:moveTo>
                    <a:pt x="2622" y="1326"/>
                  </a:moveTo>
                  <a:cubicBezTo>
                    <a:pt x="2594" y="1326"/>
                    <a:pt x="2594" y="1326"/>
                    <a:pt x="2594" y="1326"/>
                  </a:cubicBezTo>
                  <a:cubicBezTo>
                    <a:pt x="2594" y="1358"/>
                    <a:pt x="2594" y="1358"/>
                    <a:pt x="2594" y="1358"/>
                  </a:cubicBezTo>
                  <a:cubicBezTo>
                    <a:pt x="2584" y="1359"/>
                    <a:pt x="2574" y="1360"/>
                    <a:pt x="2563" y="1360"/>
                  </a:cubicBezTo>
                  <a:cubicBezTo>
                    <a:pt x="2251" y="1360"/>
                    <a:pt x="2251" y="1360"/>
                    <a:pt x="2251" y="1360"/>
                  </a:cubicBezTo>
                  <a:cubicBezTo>
                    <a:pt x="2241" y="1365"/>
                    <a:pt x="2229" y="1367"/>
                    <a:pt x="2217" y="1367"/>
                  </a:cubicBezTo>
                  <a:cubicBezTo>
                    <a:pt x="348" y="1367"/>
                    <a:pt x="348" y="1367"/>
                    <a:pt x="348" y="1367"/>
                  </a:cubicBezTo>
                  <a:cubicBezTo>
                    <a:pt x="336" y="1367"/>
                    <a:pt x="325" y="1365"/>
                    <a:pt x="315" y="1360"/>
                  </a:cubicBezTo>
                  <a:cubicBezTo>
                    <a:pt x="3" y="1360"/>
                    <a:pt x="3" y="1360"/>
                    <a:pt x="3" y="1360"/>
                  </a:cubicBezTo>
                  <a:cubicBezTo>
                    <a:pt x="2" y="1360"/>
                    <a:pt x="1" y="1360"/>
                    <a:pt x="0" y="1360"/>
                  </a:cubicBezTo>
                  <a:cubicBezTo>
                    <a:pt x="0" y="1375"/>
                    <a:pt x="0" y="1375"/>
                    <a:pt x="0" y="1375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00"/>
                    <a:pt x="0" y="1400"/>
                    <a:pt x="0" y="1400"/>
                  </a:cubicBezTo>
                  <a:cubicBezTo>
                    <a:pt x="0" y="1401"/>
                    <a:pt x="0" y="1401"/>
                    <a:pt x="0" y="1401"/>
                  </a:cubicBezTo>
                  <a:cubicBezTo>
                    <a:pt x="0" y="1402"/>
                    <a:pt x="0" y="1402"/>
                    <a:pt x="0" y="1402"/>
                  </a:cubicBezTo>
                  <a:cubicBezTo>
                    <a:pt x="0" y="1402"/>
                    <a:pt x="1" y="1402"/>
                    <a:pt x="2" y="1402"/>
                  </a:cubicBezTo>
                  <a:cubicBezTo>
                    <a:pt x="41" y="1452"/>
                    <a:pt x="72" y="1457"/>
                    <a:pt x="89" y="1457"/>
                  </a:cubicBezTo>
                  <a:cubicBezTo>
                    <a:pt x="94" y="1457"/>
                    <a:pt x="98" y="1457"/>
                    <a:pt x="100" y="1457"/>
                  </a:cubicBezTo>
                  <a:cubicBezTo>
                    <a:pt x="1311" y="1456"/>
                    <a:pt x="1311" y="1456"/>
                    <a:pt x="1311" y="1456"/>
                  </a:cubicBezTo>
                  <a:cubicBezTo>
                    <a:pt x="2350" y="1457"/>
                    <a:pt x="2350" y="1457"/>
                    <a:pt x="2350" y="1457"/>
                  </a:cubicBezTo>
                  <a:cubicBezTo>
                    <a:pt x="2542" y="1457"/>
                    <a:pt x="2542" y="1457"/>
                    <a:pt x="2542" y="1457"/>
                  </a:cubicBezTo>
                  <a:cubicBezTo>
                    <a:pt x="2560" y="1454"/>
                    <a:pt x="2587" y="1444"/>
                    <a:pt x="2621" y="1402"/>
                  </a:cubicBezTo>
                  <a:cubicBezTo>
                    <a:pt x="2621" y="1402"/>
                    <a:pt x="2622" y="1402"/>
                    <a:pt x="2622" y="1402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401"/>
                    <a:pt x="2622" y="1401"/>
                    <a:pt x="2622" y="1401"/>
                  </a:cubicBezTo>
                  <a:cubicBezTo>
                    <a:pt x="2622" y="1397"/>
                    <a:pt x="2622" y="1397"/>
                    <a:pt x="2622" y="1397"/>
                  </a:cubicBezTo>
                  <a:cubicBezTo>
                    <a:pt x="2622" y="1375"/>
                    <a:pt x="2622" y="1375"/>
                    <a:pt x="2622" y="1375"/>
                  </a:cubicBezTo>
                  <a:cubicBezTo>
                    <a:pt x="2622" y="1326"/>
                    <a:pt x="2622" y="1326"/>
                    <a:pt x="2622" y="1326"/>
                  </a:cubicBezTo>
                  <a:moveTo>
                    <a:pt x="2298" y="0"/>
                  </a:moveTo>
                  <a:cubicBezTo>
                    <a:pt x="2300" y="7"/>
                    <a:pt x="2301" y="14"/>
                    <a:pt x="2301" y="21"/>
                  </a:cubicBezTo>
                  <a:cubicBezTo>
                    <a:pt x="2301" y="1282"/>
                    <a:pt x="2301" y="1282"/>
                    <a:pt x="2301" y="1282"/>
                  </a:cubicBezTo>
                  <a:cubicBezTo>
                    <a:pt x="2329" y="1282"/>
                    <a:pt x="2329" y="1282"/>
                    <a:pt x="2329" y="1282"/>
                  </a:cubicBezTo>
                  <a:cubicBezTo>
                    <a:pt x="2329" y="65"/>
                    <a:pt x="2329" y="65"/>
                    <a:pt x="2329" y="65"/>
                  </a:cubicBezTo>
                  <a:cubicBezTo>
                    <a:pt x="2329" y="44"/>
                    <a:pt x="2321" y="25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8" y="10"/>
                    <a:pt x="2308" y="10"/>
                    <a:pt x="2308" y="10"/>
                  </a:cubicBezTo>
                  <a:cubicBezTo>
                    <a:pt x="2306" y="8"/>
                    <a:pt x="2304" y="6"/>
                    <a:pt x="2302" y="4"/>
                  </a:cubicBezTo>
                  <a:cubicBezTo>
                    <a:pt x="2302" y="3"/>
                    <a:pt x="2302" y="3"/>
                    <a:pt x="2302" y="3"/>
                  </a:cubicBezTo>
                  <a:cubicBezTo>
                    <a:pt x="2301" y="2"/>
                    <a:pt x="2300" y="1"/>
                    <a:pt x="2298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1399" y="362"/>
              <a:ext cx="4815" cy="3383"/>
            </a:xfrm>
            <a:custGeom>
              <a:avLst/>
              <a:gdLst>
                <a:gd name="T0" fmla="*/ 2036 w 2036"/>
                <a:gd name="T1" fmla="*/ 1346 h 1430"/>
                <a:gd name="T2" fmla="*/ 1952 w 2036"/>
                <a:gd name="T3" fmla="*/ 1430 h 1430"/>
                <a:gd name="T4" fmla="*/ 83 w 2036"/>
                <a:gd name="T5" fmla="*/ 1430 h 1430"/>
                <a:gd name="T6" fmla="*/ 0 w 2036"/>
                <a:gd name="T7" fmla="*/ 1346 h 1430"/>
                <a:gd name="T8" fmla="*/ 0 w 2036"/>
                <a:gd name="T9" fmla="*/ 84 h 1430"/>
                <a:gd name="T10" fmla="*/ 83 w 2036"/>
                <a:gd name="T11" fmla="*/ 0 h 1430"/>
                <a:gd name="T12" fmla="*/ 1952 w 2036"/>
                <a:gd name="T13" fmla="*/ 0 h 1430"/>
                <a:gd name="T14" fmla="*/ 2036 w 2036"/>
                <a:gd name="T15" fmla="*/ 84 h 1430"/>
                <a:gd name="T16" fmla="*/ 2036 w 2036"/>
                <a:gd name="T17" fmla="*/ 134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6" h="1430">
                  <a:moveTo>
                    <a:pt x="2036" y="1346"/>
                  </a:moveTo>
                  <a:cubicBezTo>
                    <a:pt x="2036" y="1393"/>
                    <a:pt x="1999" y="1430"/>
                    <a:pt x="1952" y="1430"/>
                  </a:cubicBezTo>
                  <a:cubicBezTo>
                    <a:pt x="83" y="1430"/>
                    <a:pt x="83" y="1430"/>
                    <a:pt x="83" y="1430"/>
                  </a:cubicBezTo>
                  <a:cubicBezTo>
                    <a:pt x="37" y="1430"/>
                    <a:pt x="0" y="1393"/>
                    <a:pt x="0" y="134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952" y="0"/>
                    <a:pt x="1952" y="0"/>
                    <a:pt x="1952" y="0"/>
                  </a:cubicBezTo>
                  <a:cubicBezTo>
                    <a:pt x="1999" y="0"/>
                    <a:pt x="2036" y="38"/>
                    <a:pt x="2036" y="84"/>
                  </a:cubicBezTo>
                  <a:cubicBezTo>
                    <a:pt x="2036" y="1346"/>
                    <a:pt x="2036" y="1346"/>
                    <a:pt x="2036" y="1346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706" y="3660"/>
              <a:ext cx="6201" cy="216"/>
            </a:xfrm>
            <a:custGeom>
              <a:avLst/>
              <a:gdLst>
                <a:gd name="T0" fmla="*/ 0 w 2622"/>
                <a:gd name="T1" fmla="*/ 0 h 91"/>
                <a:gd name="T2" fmla="*/ 0 w 2622"/>
                <a:gd name="T3" fmla="*/ 22 h 91"/>
                <a:gd name="T4" fmla="*/ 0 w 2622"/>
                <a:gd name="T5" fmla="*/ 25 h 91"/>
                <a:gd name="T6" fmla="*/ 0 w 2622"/>
                <a:gd name="T7" fmla="*/ 26 h 91"/>
                <a:gd name="T8" fmla="*/ 1 w 2622"/>
                <a:gd name="T9" fmla="*/ 26 h 91"/>
                <a:gd name="T10" fmla="*/ 100 w 2622"/>
                <a:gd name="T11" fmla="*/ 82 h 91"/>
                <a:gd name="T12" fmla="*/ 1311 w 2622"/>
                <a:gd name="T13" fmla="*/ 81 h 91"/>
                <a:gd name="T14" fmla="*/ 2350 w 2622"/>
                <a:gd name="T15" fmla="*/ 82 h 91"/>
                <a:gd name="T16" fmla="*/ 2542 w 2622"/>
                <a:gd name="T17" fmla="*/ 82 h 91"/>
                <a:gd name="T18" fmla="*/ 2622 w 2622"/>
                <a:gd name="T19" fmla="*/ 26 h 91"/>
                <a:gd name="T20" fmla="*/ 2622 w 2622"/>
                <a:gd name="T21" fmla="*/ 26 h 91"/>
                <a:gd name="T22" fmla="*/ 2622 w 2622"/>
                <a:gd name="T23" fmla="*/ 26 h 91"/>
                <a:gd name="T24" fmla="*/ 2622 w 2622"/>
                <a:gd name="T25" fmla="*/ 22 h 91"/>
                <a:gd name="T26" fmla="*/ 2622 w 2622"/>
                <a:gd name="T27" fmla="*/ 0 h 91"/>
                <a:gd name="T28" fmla="*/ 0 w 2622"/>
                <a:gd name="T2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2" h="91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3" y="91"/>
                    <a:pt x="90" y="82"/>
                    <a:pt x="100" y="82"/>
                  </a:cubicBezTo>
                  <a:cubicBezTo>
                    <a:pt x="1311" y="81"/>
                    <a:pt x="1311" y="81"/>
                    <a:pt x="1311" y="81"/>
                  </a:cubicBezTo>
                  <a:cubicBezTo>
                    <a:pt x="2350" y="82"/>
                    <a:pt x="2350" y="82"/>
                    <a:pt x="2350" y="82"/>
                  </a:cubicBezTo>
                  <a:cubicBezTo>
                    <a:pt x="2542" y="82"/>
                    <a:pt x="2542" y="82"/>
                    <a:pt x="2542" y="82"/>
                  </a:cubicBezTo>
                  <a:cubicBezTo>
                    <a:pt x="2560" y="79"/>
                    <a:pt x="2588" y="69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6"/>
                    <a:pt x="2622" y="26"/>
                    <a:pt x="2622" y="26"/>
                  </a:cubicBezTo>
                  <a:cubicBezTo>
                    <a:pt x="2622" y="22"/>
                    <a:pt x="2622" y="22"/>
                    <a:pt x="2622" y="22"/>
                  </a:cubicBezTo>
                  <a:cubicBezTo>
                    <a:pt x="2622" y="0"/>
                    <a:pt x="2622" y="0"/>
                    <a:pt x="26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06" y="3544"/>
              <a:ext cx="6201" cy="185"/>
            </a:xfrm>
            <a:custGeom>
              <a:avLst/>
              <a:gdLst>
                <a:gd name="T0" fmla="*/ 0 w 2622"/>
                <a:gd name="T1" fmla="*/ 0 h 78"/>
                <a:gd name="T2" fmla="*/ 0 w 2622"/>
                <a:gd name="T3" fmla="*/ 76 h 78"/>
                <a:gd name="T4" fmla="*/ 31 w 2622"/>
                <a:gd name="T5" fmla="*/ 78 h 78"/>
                <a:gd name="T6" fmla="*/ 2591 w 2622"/>
                <a:gd name="T7" fmla="*/ 78 h 78"/>
                <a:gd name="T8" fmla="*/ 2622 w 2622"/>
                <a:gd name="T9" fmla="*/ 76 h 78"/>
                <a:gd name="T10" fmla="*/ 2622 w 2622"/>
                <a:gd name="T11" fmla="*/ 0 h 78"/>
                <a:gd name="T12" fmla="*/ 0 w 2622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2" h="78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0" y="77"/>
                    <a:pt x="20" y="78"/>
                    <a:pt x="31" y="78"/>
                  </a:cubicBezTo>
                  <a:cubicBezTo>
                    <a:pt x="2591" y="78"/>
                    <a:pt x="2591" y="78"/>
                    <a:pt x="2591" y="78"/>
                  </a:cubicBezTo>
                  <a:cubicBezTo>
                    <a:pt x="2602" y="78"/>
                    <a:pt x="2612" y="77"/>
                    <a:pt x="2622" y="76"/>
                  </a:cubicBezTo>
                  <a:cubicBezTo>
                    <a:pt x="2622" y="0"/>
                    <a:pt x="2622" y="0"/>
                    <a:pt x="26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1619" y="593"/>
              <a:ext cx="4380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1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auto">
            <a:xfrm>
              <a:off x="3391" y="3592"/>
              <a:ext cx="832" cy="75"/>
            </a:xfrm>
            <a:custGeom>
              <a:avLst/>
              <a:gdLst>
                <a:gd name="T0" fmla="*/ 1 w 352"/>
                <a:gd name="T1" fmla="*/ 0 h 32"/>
                <a:gd name="T2" fmla="*/ 0 w 352"/>
                <a:gd name="T3" fmla="*/ 6 h 32"/>
                <a:gd name="T4" fmla="*/ 26 w 352"/>
                <a:gd name="T5" fmla="*/ 32 h 32"/>
                <a:gd name="T6" fmla="*/ 326 w 352"/>
                <a:gd name="T7" fmla="*/ 32 h 32"/>
                <a:gd name="T8" fmla="*/ 352 w 352"/>
                <a:gd name="T9" fmla="*/ 6 h 32"/>
                <a:gd name="T10" fmla="*/ 351 w 352"/>
                <a:gd name="T11" fmla="*/ 0 h 32"/>
                <a:gd name="T12" fmla="*/ 1 w 35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2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20"/>
                    <a:pt x="12" y="32"/>
                    <a:pt x="26" y="32"/>
                  </a:cubicBezTo>
                  <a:cubicBezTo>
                    <a:pt x="326" y="32"/>
                    <a:pt x="326" y="32"/>
                    <a:pt x="326" y="32"/>
                  </a:cubicBezTo>
                  <a:cubicBezTo>
                    <a:pt x="340" y="32"/>
                    <a:pt x="352" y="20"/>
                    <a:pt x="352" y="6"/>
                  </a:cubicBezTo>
                  <a:cubicBezTo>
                    <a:pt x="352" y="4"/>
                    <a:pt x="352" y="2"/>
                    <a:pt x="3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3284" y="3544"/>
              <a:ext cx="1046" cy="95"/>
            </a:xfrm>
            <a:custGeom>
              <a:avLst/>
              <a:gdLst>
                <a:gd name="T0" fmla="*/ 1 w 442"/>
                <a:gd name="T1" fmla="*/ 0 h 40"/>
                <a:gd name="T2" fmla="*/ 0 w 442"/>
                <a:gd name="T3" fmla="*/ 7 h 40"/>
                <a:gd name="T4" fmla="*/ 33 w 442"/>
                <a:gd name="T5" fmla="*/ 40 h 40"/>
                <a:gd name="T6" fmla="*/ 409 w 442"/>
                <a:gd name="T7" fmla="*/ 40 h 40"/>
                <a:gd name="T8" fmla="*/ 442 w 442"/>
                <a:gd name="T9" fmla="*/ 7 h 40"/>
                <a:gd name="T10" fmla="*/ 441 w 442"/>
                <a:gd name="T11" fmla="*/ 0 h 40"/>
                <a:gd name="T12" fmla="*/ 1 w 44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2" h="40">
                  <a:moveTo>
                    <a:pt x="1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25"/>
                    <a:pt x="15" y="40"/>
                    <a:pt x="33" y="40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27" y="40"/>
                    <a:pt x="442" y="25"/>
                    <a:pt x="442" y="7"/>
                  </a:cubicBezTo>
                  <a:cubicBezTo>
                    <a:pt x="442" y="5"/>
                    <a:pt x="441" y="2"/>
                    <a:pt x="44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018" y="3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auto">
            <a:xfrm>
              <a:off x="1399" y="362"/>
              <a:ext cx="4766" cy="3182"/>
            </a:xfrm>
            <a:custGeom>
              <a:avLst/>
              <a:gdLst>
                <a:gd name="T0" fmla="*/ 1018 w 2015"/>
                <a:gd name="T1" fmla="*/ 69 h 1345"/>
                <a:gd name="T2" fmla="*/ 1006 w 2015"/>
                <a:gd name="T3" fmla="*/ 57 h 1345"/>
                <a:gd name="T4" fmla="*/ 1018 w 2015"/>
                <a:gd name="T5" fmla="*/ 45 h 1345"/>
                <a:gd name="T6" fmla="*/ 1030 w 2015"/>
                <a:gd name="T7" fmla="*/ 57 h 1345"/>
                <a:gd name="T8" fmla="*/ 1018 w 2015"/>
                <a:gd name="T9" fmla="*/ 69 h 1345"/>
                <a:gd name="T10" fmla="*/ 1952 w 2015"/>
                <a:gd name="T11" fmla="*/ 0 h 1345"/>
                <a:gd name="T12" fmla="*/ 83 w 2015"/>
                <a:gd name="T13" fmla="*/ 0 h 1345"/>
                <a:gd name="T14" fmla="*/ 0 w 2015"/>
                <a:gd name="T15" fmla="*/ 84 h 1345"/>
                <a:gd name="T16" fmla="*/ 0 w 2015"/>
                <a:gd name="T17" fmla="*/ 1345 h 1345"/>
                <a:gd name="T18" fmla="*/ 2 w 2015"/>
                <a:gd name="T19" fmla="*/ 1345 h 1345"/>
                <a:gd name="T20" fmla="*/ 120 w 2015"/>
                <a:gd name="T21" fmla="*/ 1268 h 1345"/>
                <a:gd name="T22" fmla="*/ 93 w 2015"/>
                <a:gd name="T23" fmla="*/ 1268 h 1345"/>
                <a:gd name="T24" fmla="*/ 93 w 2015"/>
                <a:gd name="T25" fmla="*/ 98 h 1345"/>
                <a:gd name="T26" fmla="*/ 1909 w 2015"/>
                <a:gd name="T27" fmla="*/ 98 h 1345"/>
                <a:gd name="T28" fmla="*/ 2015 w 2015"/>
                <a:gd name="T29" fmla="*/ 29 h 1345"/>
                <a:gd name="T30" fmla="*/ 1953 w 2015"/>
                <a:gd name="T31" fmla="*/ 0 h 1345"/>
                <a:gd name="T32" fmla="*/ 1953 w 2015"/>
                <a:gd name="T33" fmla="*/ 0 h 1345"/>
                <a:gd name="T34" fmla="*/ 1953 w 2015"/>
                <a:gd name="T35" fmla="*/ 0 h 1345"/>
                <a:gd name="T36" fmla="*/ 1953 w 2015"/>
                <a:gd name="T37" fmla="*/ 0 h 1345"/>
                <a:gd name="T38" fmla="*/ 1953 w 2015"/>
                <a:gd name="T39" fmla="*/ 0 h 1345"/>
                <a:gd name="T40" fmla="*/ 1953 w 2015"/>
                <a:gd name="T41" fmla="*/ 0 h 1345"/>
                <a:gd name="T42" fmla="*/ 1953 w 2015"/>
                <a:gd name="T43" fmla="*/ 0 h 1345"/>
                <a:gd name="T44" fmla="*/ 1953 w 2015"/>
                <a:gd name="T45" fmla="*/ 0 h 1345"/>
                <a:gd name="T46" fmla="*/ 1953 w 2015"/>
                <a:gd name="T47" fmla="*/ 0 h 1345"/>
                <a:gd name="T48" fmla="*/ 1953 w 2015"/>
                <a:gd name="T49" fmla="*/ 0 h 1345"/>
                <a:gd name="T50" fmla="*/ 1952 w 2015"/>
                <a:gd name="T51" fmla="*/ 0 h 1345"/>
                <a:gd name="T52" fmla="*/ 1952 w 2015"/>
                <a:gd name="T5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15" h="1345">
                  <a:moveTo>
                    <a:pt x="1018" y="69"/>
                  </a:moveTo>
                  <a:cubicBezTo>
                    <a:pt x="1011" y="69"/>
                    <a:pt x="1006" y="64"/>
                    <a:pt x="1006" y="57"/>
                  </a:cubicBezTo>
                  <a:cubicBezTo>
                    <a:pt x="1006" y="50"/>
                    <a:pt x="1011" y="45"/>
                    <a:pt x="1018" y="45"/>
                  </a:cubicBezTo>
                  <a:cubicBezTo>
                    <a:pt x="1025" y="45"/>
                    <a:pt x="1030" y="50"/>
                    <a:pt x="1030" y="57"/>
                  </a:cubicBezTo>
                  <a:cubicBezTo>
                    <a:pt x="1030" y="64"/>
                    <a:pt x="1025" y="69"/>
                    <a:pt x="1018" y="69"/>
                  </a:cubicBezTo>
                  <a:moveTo>
                    <a:pt x="1952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4"/>
                  </a:cubicBezTo>
                  <a:cubicBezTo>
                    <a:pt x="0" y="1345"/>
                    <a:pt x="0" y="1345"/>
                    <a:pt x="0" y="1345"/>
                  </a:cubicBezTo>
                  <a:cubicBezTo>
                    <a:pt x="2" y="1345"/>
                    <a:pt x="2" y="1345"/>
                    <a:pt x="2" y="1345"/>
                  </a:cubicBezTo>
                  <a:cubicBezTo>
                    <a:pt x="120" y="1268"/>
                    <a:pt x="120" y="1268"/>
                    <a:pt x="120" y="1268"/>
                  </a:cubicBezTo>
                  <a:cubicBezTo>
                    <a:pt x="93" y="1268"/>
                    <a:pt x="93" y="1268"/>
                    <a:pt x="93" y="126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909" y="98"/>
                    <a:pt x="1909" y="98"/>
                    <a:pt x="1909" y="98"/>
                  </a:cubicBezTo>
                  <a:cubicBezTo>
                    <a:pt x="2015" y="29"/>
                    <a:pt x="2015" y="29"/>
                    <a:pt x="2015" y="29"/>
                  </a:cubicBezTo>
                  <a:cubicBezTo>
                    <a:pt x="2000" y="12"/>
                    <a:pt x="1978" y="1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3" y="0"/>
                    <a:pt x="1953" y="0"/>
                  </a:cubicBezTo>
                  <a:cubicBezTo>
                    <a:pt x="1953" y="0"/>
                    <a:pt x="1952" y="0"/>
                    <a:pt x="1952" y="0"/>
                  </a:cubicBezTo>
                  <a:cubicBezTo>
                    <a:pt x="1952" y="0"/>
                    <a:pt x="1952" y="0"/>
                    <a:pt x="1952" y="0"/>
                  </a:cubicBezTo>
                </a:path>
              </a:pathLst>
            </a:custGeom>
            <a:solidFill>
              <a:srgbClr val="57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auto">
            <a:xfrm>
              <a:off x="1399" y="3544"/>
              <a:ext cx="5" cy="3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auto">
            <a:xfrm>
              <a:off x="1619" y="593"/>
              <a:ext cx="4295" cy="2769"/>
            </a:xfrm>
            <a:custGeom>
              <a:avLst/>
              <a:gdLst>
                <a:gd name="T0" fmla="*/ 4295 w 4295"/>
                <a:gd name="T1" fmla="*/ 0 h 2769"/>
                <a:gd name="T2" fmla="*/ 0 w 4295"/>
                <a:gd name="T3" fmla="*/ 0 h 2769"/>
                <a:gd name="T4" fmla="*/ 0 w 4295"/>
                <a:gd name="T5" fmla="*/ 2769 h 2769"/>
                <a:gd name="T6" fmla="*/ 64 w 4295"/>
                <a:gd name="T7" fmla="*/ 2769 h 2769"/>
                <a:gd name="T8" fmla="*/ 4295 w 4295"/>
                <a:gd name="T9" fmla="*/ 0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95" h="2769">
                  <a:moveTo>
                    <a:pt x="4295" y="0"/>
                  </a:moveTo>
                  <a:lnTo>
                    <a:pt x="0" y="0"/>
                  </a:lnTo>
                  <a:lnTo>
                    <a:pt x="0" y="2769"/>
                  </a:lnTo>
                  <a:lnTo>
                    <a:pt x="64" y="2769"/>
                  </a:lnTo>
                  <a:lnTo>
                    <a:pt x="42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 userDrawn="1"/>
          </p:nvSpPr>
          <p:spPr bwMode="auto">
            <a:xfrm>
              <a:off x="3779" y="468"/>
              <a:ext cx="56" cy="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nl-NL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jdelijke aanduiding voor media 10"/>
          <p:cNvSpPr>
            <a:spLocks noGrp="1"/>
          </p:cNvSpPr>
          <p:nvPr>
            <p:ph type="media" sz="quarter" idx="16" hasCustomPrompt="1"/>
          </p:nvPr>
        </p:nvSpPr>
        <p:spPr>
          <a:xfrm>
            <a:off x="2423048" y="1297812"/>
            <a:ext cx="4233609" cy="270458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HIER OM EEN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VIDEO IN TE VOEGEN</a:t>
            </a:r>
          </a:p>
        </p:txBody>
      </p:sp>
      <p:sp>
        <p:nvSpPr>
          <p:cNvPr id="45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55" y="349630"/>
            <a:ext cx="8566546" cy="215100"/>
          </a:xfrm>
        </p:spPr>
        <p:txBody>
          <a:bodyPr anchor="t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chemeClr val="bg2"/>
                </a:solidFill>
              </a:rPr>
              <a:t>Typ hier uw titel</a:t>
            </a:r>
            <a:endParaRPr lang="nl-NL" dirty="0"/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49142" y="188884"/>
            <a:ext cx="8565928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hoofdstuk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35" name="Straight Connector 3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835686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512" y="2161894"/>
            <a:ext cx="3228975" cy="81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68693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49145" y="188886"/>
            <a:ext cx="8439729" cy="158290"/>
          </a:xfrm>
        </p:spPr>
        <p:txBody>
          <a:bodyPr/>
          <a:lstStyle>
            <a:lvl1pPr>
              <a:defRPr sz="900" b="1" baseline="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Planning communicatie</a:t>
            </a: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8860" y="349630"/>
            <a:ext cx="8440337" cy="215100"/>
          </a:xfrm>
        </p:spPr>
        <p:txBody>
          <a:bodyPr anchor="t">
            <a:normAutofit/>
          </a:bodyPr>
          <a:lstStyle>
            <a:lvl1pPr marL="0" marR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 cap="all"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>
                <a:solidFill>
                  <a:schemeClr val="bg2"/>
                </a:solidFill>
              </a:rPr>
              <a:t>Typ hier uw titel</a:t>
            </a:r>
            <a:endParaRPr lang="nl-NL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8" name="Straight Connector 7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Straight Connector 8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92052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DAE-A562-4667-82DD-5BE61974BD31}" type="datetimeFigureOut">
              <a:rPr lang="id-ID" smtClean="0">
                <a:solidFill>
                  <a:prstClr val="white"/>
                </a:solidFill>
              </a:rPr>
              <a:pPr/>
              <a:t>19/10/23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462255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hoofdstuk</a:t>
            </a:r>
          </a:p>
        </p:txBody>
      </p:sp>
      <p:sp>
        <p:nvSpPr>
          <p:cNvPr id="1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12" name="Straight Connector 11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93293074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90688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140411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8"/>
          <p:cNvGrpSpPr/>
          <p:nvPr userDrawn="1"/>
        </p:nvGrpSpPr>
        <p:grpSpPr>
          <a:xfrm>
            <a:off x="371277" y="838197"/>
            <a:ext cx="8400369" cy="3729436"/>
            <a:chOff x="464236" y="1434907"/>
            <a:chExt cx="10503880" cy="4768951"/>
          </a:xfrm>
        </p:grpSpPr>
        <p:grpSp>
          <p:nvGrpSpPr>
            <p:cNvPr id="5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5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ep 55"/>
            <p:cNvGrpSpPr/>
            <p:nvPr/>
          </p:nvGrpSpPr>
          <p:grpSpPr>
            <a:xfrm>
              <a:off x="464238" y="1434907"/>
              <a:ext cx="10503878" cy="4768951"/>
              <a:chOff x="464238" y="1165233"/>
              <a:chExt cx="10503878" cy="5575571"/>
            </a:xfrm>
          </p:grpSpPr>
          <p:cxnSp>
            <p:nvCxnSpPr>
              <p:cNvPr id="7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Rechte verbindingslijn 57"/>
              <p:cNvCxnSpPr/>
              <p:nvPr/>
            </p:nvCxnSpPr>
            <p:spPr>
              <a:xfrm rot="16200000">
                <a:off x="5554363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Rechte verbindingslijn 58"/>
              <p:cNvCxnSpPr/>
              <p:nvPr/>
            </p:nvCxnSpPr>
            <p:spPr>
              <a:xfrm rot="16200000">
                <a:off x="424137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Rechte verbindingslijn 59"/>
              <p:cNvCxnSpPr/>
              <p:nvPr/>
            </p:nvCxnSpPr>
            <p:spPr>
              <a:xfrm rot="16200000">
                <a:off x="1615409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Rechte verbindingslijn 60"/>
              <p:cNvCxnSpPr/>
              <p:nvPr/>
            </p:nvCxnSpPr>
            <p:spPr>
              <a:xfrm rot="16200000">
                <a:off x="30242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Rechte verbindingslijn 61"/>
              <p:cNvCxnSpPr/>
              <p:nvPr/>
            </p:nvCxnSpPr>
            <p:spPr>
              <a:xfrm rot="16200000">
                <a:off x="2928394" y="3953019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echte verbindingslijn 63"/>
              <p:cNvCxnSpPr/>
              <p:nvPr/>
            </p:nvCxnSpPr>
            <p:spPr>
              <a:xfrm rot="16200000">
                <a:off x="-1010561" y="3953018"/>
                <a:ext cx="557556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57"/>
              <p:cNvCxnSpPr/>
              <p:nvPr userDrawn="1"/>
            </p:nvCxnSpPr>
            <p:spPr>
              <a:xfrm rot="16200000">
                <a:off x="6867348" y="3953020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54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5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6" name="Straight Connector 2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Straight Connector 26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02893083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ep 38"/>
          <p:cNvGrpSpPr/>
          <p:nvPr userDrawn="1"/>
        </p:nvGrpSpPr>
        <p:grpSpPr>
          <a:xfrm>
            <a:off x="372558" y="833371"/>
            <a:ext cx="8161846" cy="3706828"/>
            <a:chOff x="464236" y="1434908"/>
            <a:chExt cx="10503880" cy="4768948"/>
          </a:xfrm>
        </p:grpSpPr>
        <p:grpSp>
          <p:nvGrpSpPr>
            <p:cNvPr id="118" name="Groep 54"/>
            <p:cNvGrpSpPr/>
            <p:nvPr/>
          </p:nvGrpSpPr>
          <p:grpSpPr>
            <a:xfrm>
              <a:off x="464236" y="1434908"/>
              <a:ext cx="10503879" cy="4768948"/>
              <a:chOff x="0" y="1434908"/>
              <a:chExt cx="14461588" cy="4768948"/>
            </a:xfrm>
          </p:grpSpPr>
          <p:cxnSp>
            <p:nvCxnSpPr>
              <p:cNvPr id="128" name="Rechte verbindingslijn 64"/>
              <p:cNvCxnSpPr/>
              <p:nvPr/>
            </p:nvCxnSpPr>
            <p:spPr>
              <a:xfrm>
                <a:off x="0" y="1434908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Rechte verbindingslijn 65"/>
              <p:cNvCxnSpPr/>
              <p:nvPr/>
            </p:nvCxnSpPr>
            <p:spPr>
              <a:xfrm>
                <a:off x="0" y="6203856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Rechte verbindingslijn 66"/>
              <p:cNvCxnSpPr/>
              <p:nvPr/>
            </p:nvCxnSpPr>
            <p:spPr>
              <a:xfrm>
                <a:off x="0" y="2627144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Rechte verbindingslijn 67"/>
              <p:cNvCxnSpPr/>
              <p:nvPr/>
            </p:nvCxnSpPr>
            <p:spPr>
              <a:xfrm>
                <a:off x="0" y="3819382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Rechte verbindingslijn 68"/>
              <p:cNvCxnSpPr/>
              <p:nvPr/>
            </p:nvCxnSpPr>
            <p:spPr>
              <a:xfrm>
                <a:off x="0" y="5011620"/>
                <a:ext cx="1446158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ep 55"/>
            <p:cNvGrpSpPr/>
            <p:nvPr/>
          </p:nvGrpSpPr>
          <p:grpSpPr>
            <a:xfrm>
              <a:off x="464238" y="1434908"/>
              <a:ext cx="10503878" cy="4768948"/>
              <a:chOff x="464238" y="1165234"/>
              <a:chExt cx="10503878" cy="5575568"/>
            </a:xfrm>
          </p:grpSpPr>
          <p:cxnSp>
            <p:nvCxnSpPr>
              <p:cNvPr id="120" name="Rechte verbindingslijn 56"/>
              <p:cNvCxnSpPr/>
              <p:nvPr/>
            </p:nvCxnSpPr>
            <p:spPr>
              <a:xfrm rot="16200000">
                <a:off x="-232354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Rechte verbindingslijn 57"/>
              <p:cNvCxnSpPr/>
              <p:nvPr/>
            </p:nvCxnSpPr>
            <p:spPr>
              <a:xfrm rot="16200000">
                <a:off x="6679778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Rechte verbindingslijn 58"/>
              <p:cNvCxnSpPr/>
              <p:nvPr/>
            </p:nvCxnSpPr>
            <p:spPr>
              <a:xfrm rot="16200000">
                <a:off x="5179224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Rechte verbindingslijn 59"/>
              <p:cNvCxnSpPr/>
              <p:nvPr/>
            </p:nvCxnSpPr>
            <p:spPr>
              <a:xfrm rot="16200000">
                <a:off x="2178116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Rechte verbindingslijn 60"/>
              <p:cNvCxnSpPr/>
              <p:nvPr/>
            </p:nvCxnSpPr>
            <p:spPr>
              <a:xfrm rot="16200000">
                <a:off x="67756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61"/>
              <p:cNvCxnSpPr/>
              <p:nvPr/>
            </p:nvCxnSpPr>
            <p:spPr>
              <a:xfrm rot="16200000">
                <a:off x="3678670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62"/>
              <p:cNvCxnSpPr/>
              <p:nvPr/>
            </p:nvCxnSpPr>
            <p:spPr>
              <a:xfrm rot="16200000">
                <a:off x="818033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Rechte verbindingslijn 63"/>
              <p:cNvCxnSpPr/>
              <p:nvPr/>
            </p:nvCxnSpPr>
            <p:spPr>
              <a:xfrm rot="16200000">
                <a:off x="-822992" y="3953018"/>
                <a:ext cx="557556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itel 1"/>
          <p:cNvSpPr>
            <a:spLocks noGrp="1"/>
          </p:cNvSpPr>
          <p:nvPr>
            <p:ph type="title" hasCustomPrompt="1"/>
          </p:nvPr>
        </p:nvSpPr>
        <p:spPr>
          <a:xfrm>
            <a:off x="349311" y="46765"/>
            <a:ext cx="8318966" cy="5080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nl-NL" sz="1500" i="0" kern="1200" cap="all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defTabSz="685783" fontAlgn="auto" latinLnBrk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Typ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nl-NL" dirty="0"/>
          </a:p>
        </p:txBody>
      </p:sp>
      <p:sp>
        <p:nvSpPr>
          <p:cNvPr id="60" name="Titel 1"/>
          <p:cNvSpPr txBox="1">
            <a:spLocks/>
          </p:cNvSpPr>
          <p:nvPr userDrawn="1"/>
        </p:nvSpPr>
        <p:spPr>
          <a:xfrm>
            <a:off x="349141" y="188887"/>
            <a:ext cx="8441246" cy="15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009286"/>
                </a:solidFill>
              </a:rPr>
              <a:t>Icons</a:t>
            </a:r>
          </a:p>
        </p:txBody>
      </p:sp>
      <p:sp>
        <p:nvSpPr>
          <p:cNvPr id="6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1978" y="397886"/>
            <a:ext cx="8419667" cy="210403"/>
            <a:chOff x="472458" y="532263"/>
            <a:chExt cx="8886288" cy="280537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Straight Connector 25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546500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pagina - 100%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0" y="4047711"/>
            <a:ext cx="9144000" cy="1095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2"/>
            <a:ext cx="9144000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dirty="0"/>
              <a:t> </a:t>
            </a:r>
            <a:endParaRPr lang="en-GB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21" hasCustomPrompt="1"/>
          </p:nvPr>
        </p:nvSpPr>
        <p:spPr>
          <a:xfrm>
            <a:off x="3715796" y="805072"/>
            <a:ext cx="1712411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6" name="Tijdelijke aanduiding voor afbeelding 2"/>
          <p:cNvSpPr>
            <a:spLocks noGrp="1"/>
          </p:cNvSpPr>
          <p:nvPr>
            <p:ph type="pic" sz="quarter" idx="22" hasCustomPrompt="1"/>
          </p:nvPr>
        </p:nvSpPr>
        <p:spPr>
          <a:xfrm>
            <a:off x="3738542" y="3448585"/>
            <a:ext cx="1666917" cy="877717"/>
          </a:xfrm>
          <a:noFill/>
        </p:spPr>
        <p:txBody>
          <a:bodyPr anchor="ctr"/>
          <a:lstStyle>
            <a:lvl1pPr marL="0" indent="0" algn="ctr"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KLIK OM EEN LOGO </a:t>
            </a:r>
            <a:br>
              <a:rPr lang="nl-NL" dirty="0"/>
            </a:br>
            <a:br>
              <a:rPr lang="nl-NL" dirty="0"/>
            </a:br>
            <a:r>
              <a:rPr lang="nl-NL" dirty="0"/>
              <a:t>TOE TE VOEGEN</a:t>
            </a:r>
            <a:endParaRPr lang="en-GB" dirty="0"/>
          </a:p>
        </p:txBody>
      </p:sp>
      <p:sp>
        <p:nvSpPr>
          <p:cNvPr id="17" name="Tijdelijke aanduiding voor tekst 8"/>
          <p:cNvSpPr>
            <a:spLocks noGrp="1"/>
          </p:cNvSpPr>
          <p:nvPr>
            <p:ph type="body" sz="quarter" idx="18" hasCustomPrompt="1"/>
          </p:nvPr>
        </p:nvSpPr>
        <p:spPr>
          <a:xfrm>
            <a:off x="2450103" y="2323766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titel in</a:t>
            </a:r>
          </a:p>
        </p:txBody>
      </p:sp>
      <p:sp>
        <p:nvSpPr>
          <p:cNvPr id="18" name="Tijdelijke aanduiding voor tekst 8"/>
          <p:cNvSpPr>
            <a:spLocks noGrp="1"/>
          </p:cNvSpPr>
          <p:nvPr>
            <p:ph type="body" sz="quarter" idx="19" hasCustomPrompt="1"/>
          </p:nvPr>
        </p:nvSpPr>
        <p:spPr>
          <a:xfrm>
            <a:off x="2450103" y="2589420"/>
            <a:ext cx="4223146" cy="238975"/>
          </a:xfrm>
        </p:spPr>
        <p:txBody>
          <a:bodyPr>
            <a:noAutofit/>
          </a:bodyPr>
          <a:lstStyle>
            <a:lvl1pPr marL="0" indent="0" algn="ctr">
              <a:buNone/>
              <a:defRPr sz="1800"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Voeg hier uw subtitel in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4140474" y="2081873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20" hasCustomPrompt="1"/>
          </p:nvPr>
        </p:nvSpPr>
        <p:spPr>
          <a:xfrm>
            <a:off x="4140474" y="3056785"/>
            <a:ext cx="842400" cy="135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3718392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6" grpId="0" build="p"/>
      <p:bldP spid="17" grpId="0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6223" y="217057"/>
            <a:ext cx="6815919" cy="41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73249" bIns="3662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16217">
              <a:defRPr sz="80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968C61-D2AE-4356-8B19-3BEB45AA5B63}" type="slidenum">
              <a:rPr lang="nl-NL">
                <a:solidFill>
                  <a:srgbClr val="004C4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00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7582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5" r:id="rId1"/>
    <p:sldLayoutId id="2147483694" r:id="rId2"/>
    <p:sldLayoutId id="2147483696" r:id="rId3"/>
    <p:sldLayoutId id="2147483774" r:id="rId4"/>
    <p:sldLayoutId id="2147483699" r:id="rId5"/>
    <p:sldLayoutId id="2147483757" r:id="rId6"/>
    <p:sldLayoutId id="2147483755" r:id="rId7"/>
    <p:sldLayoutId id="2147483756" r:id="rId8"/>
  </p:sldLayoutIdLst>
  <p:transition spd="slow">
    <p:push dir="u"/>
  </p:transition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85951" y="277268"/>
            <a:ext cx="7800975" cy="315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71513" y="1264443"/>
            <a:ext cx="7800975" cy="3368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71514" y="4967439"/>
            <a:ext cx="2014537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4967439"/>
            <a:ext cx="3086100" cy="135731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pPr defTabSz="685783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 txBox="1">
            <a:spLocks noChangeArrowheads="1"/>
          </p:cNvSpPr>
          <p:nvPr/>
        </p:nvSpPr>
        <p:spPr bwMode="auto">
          <a:xfrm>
            <a:off x="8210053" y="4776339"/>
            <a:ext cx="650235" cy="18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816217" rtl="0" eaLnBrk="1" latinLnBrk="0" hangingPunct="1">
              <a:defRPr sz="800" kern="1200">
                <a:solidFill>
                  <a:schemeClr val="hlink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968C61-D2AE-4356-8B19-3BEB45AA5B63}" type="slidenum">
              <a:rPr lang="nl-NL" smtClean="0">
                <a:solidFill>
                  <a:srgbClr val="009286"/>
                </a:solidFill>
              </a:rPr>
              <a:pPr/>
              <a:t>‹#›</a:t>
            </a:fld>
            <a:endParaRPr lang="nl-NL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67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73" r:id="rId5"/>
    <p:sldLayoutId id="2147483776" r:id="rId6"/>
    <p:sldLayoutId id="2147483771" r:id="rId7"/>
    <p:sldLayoutId id="2147483770" r:id="rId8"/>
    <p:sldLayoutId id="2147483769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80" r:id="rId20"/>
    <p:sldLayoutId id="2147483715" r:id="rId21"/>
    <p:sldLayoutId id="2147483721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79" r:id="rId28"/>
    <p:sldLayoutId id="2147483722" r:id="rId29"/>
    <p:sldLayoutId id="2147483723" r:id="rId30"/>
    <p:sldLayoutId id="2147483732" r:id="rId31"/>
  </p:sldLayoutIdLst>
  <p:transition spd="slow">
    <p:push dir="u"/>
  </p:transition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315" indent="-289315" algn="l" defTabSz="685783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SzPct val="150000"/>
        <a:buFont typeface="Arial" panose="020B0604020202020204" pitchFamily="34" charset="0"/>
        <a:buChar char="•"/>
        <a:tabLst>
          <a:tab pos="272648" algn="l"/>
        </a:tabLst>
        <a:defRPr lang="nl-NL" sz="1200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561961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+mn-cs"/>
        </a:defRPr>
      </a:lvl2pPr>
      <a:lvl3pPr marL="867944" indent="-305984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Arial" panose="020B0604020202020204" pitchFamily="34" charset="0"/>
        <a:buChar char="+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1148925" indent="-289315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30000"/>
        <a:buFont typeface="Courier New" panose="02070309020205020404" pitchFamily="49" charset="0"/>
        <a:buChar char="o"/>
        <a:defRPr sz="12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15000"/>
        <a:buFont typeface="Arial" panose="020B0604020202020204" pitchFamily="34" charset="0"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100" b="0" i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1200" b="1" i="0" kern="120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685783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None/>
        <a:defRPr sz="900" i="0" u="none" kern="1200">
          <a:solidFill>
            <a:schemeClr val="tx2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makeameme.org/meme/memory-leaks-memory-8f1cc7495e" TargetMode="External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pngimg.com/download/50063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creativecommons.org/licenses/by-nc/3.0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stockphoto.com/photo/woman-working-on-vacation-gm1133651422-300958149" TargetMode="External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software-testing-service-762486/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4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sv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diagramLayout" Target="../diagrams/layout7.xml"/><Relationship Id="rId7" Type="http://schemas.openxmlformats.org/officeDocument/2006/relationships/image" Target="../media/image35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Relationship Id="rId9" Type="http://schemas.openxmlformats.org/officeDocument/2006/relationships/image" Target="../media/image29.jpe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0.jpe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44.jpeg"/><Relationship Id="rId4" Type="http://schemas.openxmlformats.org/officeDocument/2006/relationships/image" Target="../media/image43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diagramLayout" Target="../diagrams/layout8.xml"/><Relationship Id="rId7" Type="http://schemas.openxmlformats.org/officeDocument/2006/relationships/image" Target="../media/image35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Relationship Id="rId9" Type="http://schemas.openxmlformats.org/officeDocument/2006/relationships/image" Target="../media/image29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llia-lebid" TargetMode="External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950955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44A908F-135C-CC5F-2138-D9D9F0A77857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2792934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Accessibility tests</a:t>
            </a:r>
          </a:p>
        </p:txBody>
      </p:sp>
      <p:pic>
        <p:nvPicPr>
          <p:cNvPr id="5" name="Picture 4" descr="A person and a child using devices&#10;&#10;Description automatically generated">
            <a:extLst>
              <a:ext uri="{FF2B5EF4-FFF2-40B4-BE49-F238E27FC236}">
                <a16:creationId xmlns:a16="http://schemas.microsoft.com/office/drawing/2014/main" id="{EFD7D246-1B2B-4285-B2D3-D802AA8337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604" y="630745"/>
            <a:ext cx="3956792" cy="39567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7BFA60B-1DE8-590B-45BA-B0866584C275}"/>
              </a:ext>
            </a:extLst>
          </p:cNvPr>
          <p:cNvSpPr txBox="1"/>
          <p:nvPr/>
        </p:nvSpPr>
        <p:spPr>
          <a:xfrm>
            <a:off x="2823746" y="4424538"/>
            <a:ext cx="34905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dirty="0"/>
              <a:t>Image by vectorjuice on Freepik</a:t>
            </a:r>
          </a:p>
        </p:txBody>
      </p:sp>
    </p:spTree>
    <p:extLst>
      <p:ext uri="{BB962C8B-B14F-4D97-AF65-F5344CB8AC3E}">
        <p14:creationId xmlns:p14="http://schemas.microsoft.com/office/powerpoint/2010/main" val="1025925415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Performance tests</a:t>
            </a:r>
          </a:p>
        </p:txBody>
      </p:sp>
      <p:pic>
        <p:nvPicPr>
          <p:cNvPr id="29" name="Picture 28" descr="A tablet with a clock and a rocket&#10;&#10;Description automatically generated">
            <a:extLst>
              <a:ext uri="{FF2B5EF4-FFF2-40B4-BE49-F238E27FC236}">
                <a16:creationId xmlns:a16="http://schemas.microsoft.com/office/drawing/2014/main" id="{A1CD7617-CF49-D8F1-9E66-4AB479EBB7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3113" y="925835"/>
            <a:ext cx="3291830" cy="329183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8C60C5EE-5D8C-4BD1-CA3C-5FCE9597845B}"/>
              </a:ext>
            </a:extLst>
          </p:cNvPr>
          <p:cNvSpPr txBox="1"/>
          <p:nvPr/>
        </p:nvSpPr>
        <p:spPr>
          <a:xfrm>
            <a:off x="2848478" y="4032999"/>
            <a:ext cx="34411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dirty="0"/>
              <a:t>Image by vectorjuice on Freepik</a:t>
            </a:r>
          </a:p>
        </p:txBody>
      </p:sp>
    </p:spTree>
    <p:extLst>
      <p:ext uri="{BB962C8B-B14F-4D97-AF65-F5344CB8AC3E}">
        <p14:creationId xmlns:p14="http://schemas.microsoft.com/office/powerpoint/2010/main" val="582660974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Mutation tes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388BED-7EA8-491D-3CE1-44A208DF18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201"/>
          <a:stretch/>
        </p:blipFill>
        <p:spPr>
          <a:xfrm>
            <a:off x="1547521" y="627534"/>
            <a:ext cx="6048957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94931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Memory leakage tests</a:t>
            </a:r>
          </a:p>
        </p:txBody>
      </p:sp>
      <p:pic>
        <p:nvPicPr>
          <p:cNvPr id="13" name="Picture 12" descr="A toy story character next to another toy&#10;&#10;Description automatically generated">
            <a:extLst>
              <a:ext uri="{FF2B5EF4-FFF2-40B4-BE49-F238E27FC236}">
                <a16:creationId xmlns:a16="http://schemas.microsoft.com/office/drawing/2014/main" id="{C4E46DC0-E105-B529-12C8-3BA1F3A92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091022" y="1015159"/>
            <a:ext cx="6961956" cy="3790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127486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Snapshot tests</a:t>
            </a:r>
          </a:p>
        </p:txBody>
      </p:sp>
      <p:pic>
        <p:nvPicPr>
          <p:cNvPr id="1026" name="Picture 2" descr="SnapDragon® - New York Apple Association">
            <a:extLst>
              <a:ext uri="{FF2B5EF4-FFF2-40B4-BE49-F238E27FC236}">
                <a16:creationId xmlns:a16="http://schemas.microsoft.com/office/drawing/2014/main" id="{87F39CBD-DBBE-B1E7-1779-9D6113066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38" y="820658"/>
            <a:ext cx="2583243" cy="2033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napDragon® - New York Apple Association">
            <a:extLst>
              <a:ext uri="{FF2B5EF4-FFF2-40B4-BE49-F238E27FC236}">
                <a16:creationId xmlns:a16="http://schemas.microsoft.com/office/drawing/2014/main" id="{9E6D2438-0613-517C-83AC-CD76E07EBA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53" y="3003798"/>
            <a:ext cx="2718214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pple premium imported – Subzfresh">
            <a:extLst>
              <a:ext uri="{FF2B5EF4-FFF2-40B4-BE49-F238E27FC236}">
                <a16:creationId xmlns:a16="http://schemas.microsoft.com/office/drawing/2014/main" id="{C07B8988-273C-5985-6D2C-238EFC2F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890" y="714413"/>
            <a:ext cx="2135740" cy="213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c 8" descr="Tick with solid fill">
            <a:extLst>
              <a:ext uri="{FF2B5EF4-FFF2-40B4-BE49-F238E27FC236}">
                <a16:creationId xmlns:a16="http://schemas.microsoft.com/office/drawing/2014/main" id="{318DC722-ABA6-57D7-6928-06A8DB7B4F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1657350"/>
            <a:ext cx="914400" cy="914400"/>
          </a:xfrm>
          <a:prstGeom prst="rect">
            <a:avLst/>
          </a:prstGeom>
        </p:spPr>
      </p:pic>
      <p:pic>
        <p:nvPicPr>
          <p:cNvPr id="10" name="Graphic 9" descr="Tick with solid fill">
            <a:extLst>
              <a:ext uri="{FF2B5EF4-FFF2-40B4-BE49-F238E27FC236}">
                <a16:creationId xmlns:a16="http://schemas.microsoft.com/office/drawing/2014/main" id="{21A514C9-0AD9-76A3-BEC9-471FD4B3F8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8696" y="3840490"/>
            <a:ext cx="914400" cy="914400"/>
          </a:xfrm>
          <a:prstGeom prst="rect">
            <a:avLst/>
          </a:prstGeom>
        </p:spPr>
      </p:pic>
      <p:pic>
        <p:nvPicPr>
          <p:cNvPr id="12" name="Graphic 11" descr="Close with solid fill">
            <a:extLst>
              <a:ext uri="{FF2B5EF4-FFF2-40B4-BE49-F238E27FC236}">
                <a16:creationId xmlns:a16="http://schemas.microsoft.com/office/drawing/2014/main" id="{A439DC12-72B5-ABEC-B6A4-E3B73331F6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1657350"/>
            <a:ext cx="914400" cy="914400"/>
          </a:xfrm>
          <a:prstGeom prst="rect">
            <a:avLst/>
          </a:prstGeom>
        </p:spPr>
      </p:pic>
      <p:pic>
        <p:nvPicPr>
          <p:cNvPr id="1034" name="Picture 10" descr="Granny Smith (Green) Apple - fruityland">
            <a:extLst>
              <a:ext uri="{FF2B5EF4-FFF2-40B4-BE49-F238E27FC236}">
                <a16:creationId xmlns:a16="http://schemas.microsoft.com/office/drawing/2014/main" id="{E3093CD7-CE70-7822-6EFB-17FAFEFD7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3445" y="2715767"/>
            <a:ext cx="2581154" cy="22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 descr="Close with solid fill">
            <a:extLst>
              <a:ext uri="{FF2B5EF4-FFF2-40B4-BE49-F238E27FC236}">
                <a16:creationId xmlns:a16="http://schemas.microsoft.com/office/drawing/2014/main" id="{5FC26E39-837B-9C45-9907-5B895B2C91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41976" y="384049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391674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Security tests</a:t>
            </a:r>
          </a:p>
        </p:txBody>
      </p:sp>
      <p:pic>
        <p:nvPicPr>
          <p:cNvPr id="5" name="Picture 4" descr="A person wearing a black mask holding a white sign&#10;&#10;Description automatically generated">
            <a:extLst>
              <a:ext uri="{FF2B5EF4-FFF2-40B4-BE49-F238E27FC236}">
                <a16:creationId xmlns:a16="http://schemas.microsoft.com/office/drawing/2014/main" id="{E5E7859E-BE9A-7B25-BE59-D7781EFDBE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27584" y="787865"/>
            <a:ext cx="6984776" cy="43556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838204-4A28-F6F9-1C6E-0CC78D210441}"/>
              </a:ext>
            </a:extLst>
          </p:cNvPr>
          <p:cNvSpPr txBox="1"/>
          <p:nvPr/>
        </p:nvSpPr>
        <p:spPr>
          <a:xfrm>
            <a:off x="1016797" y="8210627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900">
                <a:hlinkClick r:id="rId3" tooltip="https://pngimg.com/download/50063"/>
              </a:rPr>
              <a:t>This Photo</a:t>
            </a:r>
            <a:r>
              <a:rPr lang="en-NL" sz="900"/>
              <a:t> by Unknown Author is licensed under </a:t>
            </a:r>
            <a:r>
              <a:rPr lang="en-NL" sz="900">
                <a:hlinkClick r:id="rId4" tooltip="https://creativecommons.org/licenses/by-nc/3.0/"/>
              </a:rPr>
              <a:t>CC BY-NC</a:t>
            </a:r>
            <a:endParaRPr lang="en-NL" sz="900"/>
          </a:p>
        </p:txBody>
      </p:sp>
    </p:spTree>
    <p:extLst>
      <p:ext uri="{BB962C8B-B14F-4D97-AF65-F5344CB8AC3E}">
        <p14:creationId xmlns:p14="http://schemas.microsoft.com/office/powerpoint/2010/main" val="2954413155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Code quality tests</a:t>
            </a:r>
          </a:p>
        </p:txBody>
      </p:sp>
      <p:pic>
        <p:nvPicPr>
          <p:cNvPr id="7" name="Picture 6" descr="A person sitting in a chair with a computer&#10;&#10;Description automatically generated">
            <a:extLst>
              <a:ext uri="{FF2B5EF4-FFF2-40B4-BE49-F238E27FC236}">
                <a16:creationId xmlns:a16="http://schemas.microsoft.com/office/drawing/2014/main" id="{7A6F3E4A-A636-9097-432A-4831EF93AE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655676" y="921375"/>
            <a:ext cx="5832648" cy="3872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94957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830100991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961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DF8971E-7CEB-AB50-CA53-DD4CDE1041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1960" y="915566"/>
            <a:ext cx="4200140" cy="3651870"/>
          </a:xfrm>
          <a:prstGeom prst="rect">
            <a:avLst/>
          </a:prstGeom>
        </p:spPr>
      </p:pic>
      <p:pic>
        <p:nvPicPr>
          <p:cNvPr id="3" name="Picture 2" descr="iDEAL - Wikipedia">
            <a:extLst>
              <a:ext uri="{FF2B5EF4-FFF2-40B4-BE49-F238E27FC236}">
                <a16:creationId xmlns:a16="http://schemas.microsoft.com/office/drawing/2014/main" id="{C25F5E9E-11DF-B122-0AA2-A91143151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347614"/>
            <a:ext cx="3162059" cy="2787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091571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113235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71592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354753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ing pyram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FCE37EF-C48B-4F17-21AF-201106F5108E}"/>
              </a:ext>
            </a:extLst>
          </p:cNvPr>
          <p:cNvGraphicFramePr/>
          <p:nvPr/>
        </p:nvGraphicFramePr>
        <p:xfrm>
          <a:off x="467543" y="699542"/>
          <a:ext cx="8321653" cy="3904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01F51ED1-ABF9-DB4E-AD10-A06529CFFB12}"/>
              </a:ext>
            </a:extLst>
          </p:cNvPr>
          <p:cNvSpPr/>
          <p:nvPr/>
        </p:nvSpPr>
        <p:spPr>
          <a:xfrm>
            <a:off x="3764273" y="24670"/>
            <a:ext cx="1728192" cy="1080120"/>
          </a:xfrm>
          <a:prstGeom prst="cloud">
            <a:avLst/>
          </a:prstGeom>
          <a:solidFill>
            <a:srgbClr val="D6D6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dirty="0">
                <a:solidFill>
                  <a:schemeClr val="tx1"/>
                </a:solidFill>
              </a:rPr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14306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tegration with the pipe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6665D5-6635-2BB5-DF8B-9AF3002F05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860" y="2167764"/>
            <a:ext cx="8440337" cy="82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859853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st driven development</a:t>
            </a:r>
          </a:p>
        </p:txBody>
      </p:sp>
      <p:pic>
        <p:nvPicPr>
          <p:cNvPr id="8194" name="Picture 2" descr="The Red Green Refactor of TDD - Hashnode">
            <a:extLst>
              <a:ext uri="{FF2B5EF4-FFF2-40B4-BE49-F238E27FC236}">
                <a16:creationId xmlns:a16="http://schemas.microsoft.com/office/drawing/2014/main" id="{F9C1F1E6-E530-E8BE-DCC3-E70743F6C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0736" y="1059582"/>
            <a:ext cx="5256584" cy="3490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5035545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eaking the tests</a:t>
            </a:r>
          </a:p>
        </p:txBody>
      </p:sp>
      <p:pic>
        <p:nvPicPr>
          <p:cNvPr id="2" name="Picture Placeholder 31">
            <a:extLst>
              <a:ext uri="{FF2B5EF4-FFF2-40B4-BE49-F238E27FC236}">
                <a16:creationId xmlns:a16="http://schemas.microsoft.com/office/drawing/2014/main" id="{E4A33DB4-3639-7196-8EFB-EF31933BBFBA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2099001" y="1131590"/>
            <a:ext cx="4945997" cy="32717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49066754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Close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B635F840-9A0F-2EFE-6310-DE4FC27A0DD8}"/>
              </a:ext>
            </a:extLst>
          </p:cNvPr>
          <p:cNvSpPr txBox="1"/>
          <p:nvPr/>
        </p:nvSpPr>
        <p:spPr>
          <a:xfrm>
            <a:off x="348860" y="412342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206553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79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7FF78B-FE18-6D05-181B-FF316AC5662A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D541EC-399B-997B-58E2-DB98743B690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7D1C1C-4F7C-1002-B01E-3741BE171F5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9" name="Graphic 8" descr="Close with solid fill">
              <a:extLst>
                <a:ext uri="{FF2B5EF4-FFF2-40B4-BE49-F238E27FC236}">
                  <a16:creationId xmlns:a16="http://schemas.microsoft.com/office/drawing/2014/main" id="{0DF83CF7-CF64-41C9-9D38-76F829BEF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BBA735-EA00-C4DE-DA7B-E285C79A1477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50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6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24" descr="A magnifying glass over a computer monitor&#10;&#10;Description automatically generated">
            <a:extLst>
              <a:ext uri="{FF2B5EF4-FFF2-40B4-BE49-F238E27FC236}">
                <a16:creationId xmlns:a16="http://schemas.microsoft.com/office/drawing/2014/main" id="{A61FDCBE-0D8B-A7FF-DDBC-F6C44F8E3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2381" b="12381"/>
          <a:stretch>
            <a:fillRect/>
          </a:stretch>
        </p:blipFill>
        <p:spPr>
          <a:xfrm>
            <a:off x="5253737" y="3063691"/>
            <a:ext cx="3168352" cy="1668299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3BD8E28-FA4D-F537-0740-B0920A8BDBCF}"/>
              </a:ext>
            </a:extLst>
          </p:cNvPr>
          <p:cNvSpPr txBox="1"/>
          <p:nvPr/>
        </p:nvSpPr>
        <p:spPr>
          <a:xfrm>
            <a:off x="5815835" y="2478440"/>
            <a:ext cx="20441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b</a:t>
            </a:r>
            <a:r>
              <a:rPr lang="en-NL" sz="2400" b="1">
                <a:solidFill>
                  <a:schemeClr val="bg2"/>
                </a:solidFill>
              </a:rPr>
              <a:t>y Illia Lebi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149FF1-26E8-294F-5AA2-BFE9CC9E929C}"/>
              </a:ext>
            </a:extLst>
          </p:cNvPr>
          <p:cNvSpPr txBox="1"/>
          <p:nvPr/>
        </p:nvSpPr>
        <p:spPr>
          <a:xfrm>
            <a:off x="5058001" y="1164073"/>
            <a:ext cx="35598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FULL PROOF TESTING</a:t>
            </a:r>
            <a:endParaRPr lang="en-NL" sz="2400" b="1" dirty="0">
              <a:solidFill>
                <a:schemeClr val="bg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26D5F7-5C98-4C3B-EA59-3C7B54D7288B}"/>
              </a:ext>
            </a:extLst>
          </p:cNvPr>
          <p:cNvSpPr txBox="1"/>
          <p:nvPr/>
        </p:nvSpPr>
        <p:spPr>
          <a:xfrm>
            <a:off x="4859710" y="1629478"/>
            <a:ext cx="3956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A GUIDE TO STABLE APPLICATION</a:t>
            </a:r>
            <a:endParaRPr lang="en-NL">
              <a:solidFill>
                <a:schemeClr val="bg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188345-4E50-9CD3-607B-D5951B081136}"/>
              </a:ext>
            </a:extLst>
          </p:cNvPr>
          <p:cNvSpPr/>
          <p:nvPr/>
        </p:nvSpPr>
        <p:spPr>
          <a:xfrm>
            <a:off x="5058000" y="2174989"/>
            <a:ext cx="3559821" cy="3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FE425D-44EC-0826-D05C-B2B8EC694B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1" r="16771"/>
          <a:stretch/>
        </p:blipFill>
        <p:spPr>
          <a:xfrm>
            <a:off x="1" y="0"/>
            <a:ext cx="4571999" cy="5143500"/>
          </a:xfrm>
          <a:prstGeom prst="rect">
            <a:avLst/>
          </a:prstGeom>
        </p:spPr>
      </p:pic>
      <p:pic>
        <p:nvPicPr>
          <p:cNvPr id="3074" name="Picture 2" descr="ABN AMRO | World Economic Forum">
            <a:extLst>
              <a:ext uri="{FF2B5EF4-FFF2-40B4-BE49-F238E27FC236}">
                <a16:creationId xmlns:a16="http://schemas.microsoft.com/office/drawing/2014/main" id="{1333D85A-FCF0-3CC7-0CFD-BD5EDADB7D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3" t="32726" r="6503" b="24801"/>
          <a:stretch/>
        </p:blipFill>
        <p:spPr bwMode="auto">
          <a:xfrm>
            <a:off x="5058000" y="50332"/>
            <a:ext cx="3490050" cy="990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610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84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47A691-4C7A-45D8-0BDA-BCFEE47849A8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CC3747-A4CC-4934-D5C6-34124137062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DA36EE-267F-BFB0-94B6-6CE78DEA0F13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49" name="Graphic 48" descr="Close with solid fill">
              <a:extLst>
                <a:ext uri="{FF2B5EF4-FFF2-40B4-BE49-F238E27FC236}">
                  <a16:creationId xmlns:a16="http://schemas.microsoft.com/office/drawing/2014/main" id="{43EEB942-65A0-9C99-79FB-7F7A2A2E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2675CF9-F757-DDA3-EF7D-BAF158D93DF6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500</a:t>
            </a:r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577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412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 descr="Close with solid fill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891BF8C-88AD-4E23-F9B3-A119EFB9DBD4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u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defined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4189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016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8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5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400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EB9AA7-EBA8-0E99-B49D-0A78BE541B2E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DA4B8C-7F22-2EBF-EEB1-EE4430F9FCD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2457F0E-10A0-F0A1-F9CA-0F6C4C6A3B5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</a:t>
              </a:r>
              <a:r>
                <a:rPr lang="en-NL" sz="1000">
                  <a:solidFill>
                    <a:schemeClr val="bg1"/>
                  </a:solidFill>
                </a:rPr>
                <a:t>ive 10% discount if price is more than 1000</a:t>
              </a: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8B14A2B-4513-BBEB-9EF0-43387D9A6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89263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;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als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DC0BDE9-DECE-350B-2A60-14BFEF67D1DD}"/>
              </a:ext>
            </a:extLst>
          </p:cNvPr>
          <p:cNvGrpSpPr/>
          <p:nvPr/>
        </p:nvGrpSpPr>
        <p:grpSpPr>
          <a:xfrm>
            <a:off x="5283543" y="1938880"/>
            <a:ext cx="3511597" cy="270000"/>
            <a:chOff x="5277600" y="1334174"/>
            <a:chExt cx="3511597" cy="270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0EE9E37-5569-6542-9D61-0151F7EB04F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A1F5FA3-6E67-3300-2ECE-F88651DA527A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23" name="Graphic 22" descr="Close with solid fill">
              <a:extLst>
                <a:ext uri="{FF2B5EF4-FFF2-40B4-BE49-F238E27FC236}">
                  <a16:creationId xmlns:a16="http://schemas.microsoft.com/office/drawing/2014/main" id="{C846CC1C-E3DC-2ED2-23D4-88CD6E8A1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08209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  <a:endParaRPr lang="en-GB" sz="1000" dirty="0">
              <a:solidFill>
                <a:srgbClr val="C586C0"/>
              </a:solidFill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-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dirty="0">
                <a:solidFill>
                  <a:srgbClr val="B5CEA8"/>
                </a:solidFill>
                <a:latin typeface="Menlo" panose="020B0609030804020204" pitchFamily="49" charset="0"/>
              </a:rPr>
              <a:t>2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8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F3BD1A-A7D5-16E4-8890-F422965FCE44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C23323B-E360-56C3-6649-5DB368491341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13E8167-85CE-7175-5BCB-0019C93EE22F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991ADE58-1ECC-87AB-7F65-9E780D682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0124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51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322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518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083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20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Free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3DE63B-C896-917D-3570-DD4E2D3759C9}"/>
              </a:ext>
            </a:extLst>
          </p:cNvPr>
          <p:cNvGrpSpPr/>
          <p:nvPr/>
        </p:nvGrpSpPr>
        <p:grpSpPr>
          <a:xfrm>
            <a:off x="5283543" y="2280157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9C9EF55-23B9-1A85-7455-1EAE8017BE3D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D695A91-E323-7422-5534-4E2FC046186C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B16C178C-E17D-F0FE-3155-4F7D0F425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7663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Free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dirty="0">
                <a:solidFill>
                  <a:srgbClr val="FF0000"/>
                </a:solidFill>
                <a:latin typeface="Menlo" panose="020B0609030804020204" pitchFamily="49" charset="0"/>
              </a:rPr>
              <a:t>Uncaught error: PriceIsARequiredParameter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113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ceability matrix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0FBB8FC-2C78-DA15-A0FC-CD8A5463D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314909"/>
              </p:ext>
            </p:extLst>
          </p:nvPr>
        </p:nvGraphicFramePr>
        <p:xfrm>
          <a:off x="348860" y="915567"/>
          <a:ext cx="8440338" cy="387830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64707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1048846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699355">
                <a:tc>
                  <a:txBody>
                    <a:bodyPr/>
                    <a:lstStyle/>
                    <a:p>
                      <a:r>
                        <a:rPr lang="en-NL" dirty="0"/>
                        <a:t>Ac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dirty="0"/>
                        <a:t>Expected resul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/>
                        <a:t>Is tes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the catalog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a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aaa bla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and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63579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 bla b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dow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1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5658377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346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058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CC006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CC0066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lose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09282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FA27075-1DCF-B31D-A0D5-96A966757A2E}"/>
              </a:ext>
            </a:extLst>
          </p:cNvPr>
          <p:cNvSpPr/>
          <p:nvPr/>
        </p:nvSpPr>
        <p:spPr>
          <a:xfrm>
            <a:off x="348860" y="843558"/>
            <a:ext cx="4655188" cy="38164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xample (Unit tes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B61740-B850-947E-EBE7-85637B08547F}"/>
              </a:ext>
            </a:extLst>
          </p:cNvPr>
          <p:cNvSpPr txBox="1"/>
          <p:nvPr/>
        </p:nvSpPr>
        <p:spPr>
          <a:xfrm>
            <a:off x="348860" y="843558"/>
            <a:ext cx="465379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000" b="0" dirty="0">
              <a:solidFill>
                <a:srgbClr val="569CD6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functio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dirty="0">
                <a:solidFill>
                  <a:srgbClr val="569CD6"/>
                </a:solidFill>
                <a:latin typeface="Menlo" panose="020B0609030804020204" pitchFamily="49" charset="0"/>
              </a:rPr>
              <a:t>typeof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 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!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== 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number'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{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iceMust</a:t>
            </a:r>
            <a:r>
              <a:rPr lang="en-GB" sz="1000" dirty="0">
                <a:solidFill>
                  <a:srgbClr val="CE9178"/>
                </a:solidFill>
                <a:latin typeface="Menlo" panose="020B0609030804020204" pitchFamily="49" charset="0"/>
              </a:rPr>
              <a:t>B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Numb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!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thro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569CD6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Error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'PriceIsARequiredParameter’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;</a:t>
            </a: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r>
              <a:rPr lang="en-GB" sz="10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if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&gt;=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* 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.9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  <a:endParaRPr lang="en-GB" sz="1000" b="0" dirty="0">
              <a:solidFill>
                <a:srgbClr val="C586C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000" b="0" dirty="0">
                <a:solidFill>
                  <a:srgbClr val="C586C0"/>
                </a:solidFill>
                <a:effectLst/>
                <a:latin typeface="Menlo" panose="020B0609030804020204" pitchFamily="49" charset="0"/>
              </a:rPr>
              <a:t>  return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000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ice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;</a:t>
            </a:r>
          </a:p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endParaRPr lang="en-GB" sz="10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8363FA-8EAA-5E2E-8566-6E95098B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6016" y="843558"/>
            <a:ext cx="286636" cy="286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D032C6-FF2C-7C47-3838-052FB142E85B}"/>
              </a:ext>
            </a:extLst>
          </p:cNvPr>
          <p:cNvSpPr txBox="1"/>
          <p:nvPr/>
        </p:nvSpPr>
        <p:spPr>
          <a:xfrm>
            <a:off x="5220072" y="84355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>
                <a:solidFill>
                  <a:schemeClr val="bg2"/>
                </a:solidFill>
              </a:rPr>
              <a:t>It should: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7AA4A8-B824-835B-894B-92EFBEBA795F}"/>
              </a:ext>
            </a:extLst>
          </p:cNvPr>
          <p:cNvGrpSpPr/>
          <p:nvPr/>
        </p:nvGrpSpPr>
        <p:grpSpPr>
          <a:xfrm>
            <a:off x="5283543" y="2280214"/>
            <a:ext cx="3511597" cy="270000"/>
            <a:chOff x="5277600" y="1334174"/>
            <a:chExt cx="3511597" cy="27000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A375CFD-CF16-3004-75DC-A21CC5EACB98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0415353-C13D-433A-1C0B-D3B6FA6CCF62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a number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7C7E0F7D-11D1-CBA7-0BB4-1E806AAF6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59E0089-2851-08AC-E62E-F5B8C23E460C}"/>
              </a:ext>
            </a:extLst>
          </p:cNvPr>
          <p:cNvGrpSpPr/>
          <p:nvPr/>
        </p:nvGrpSpPr>
        <p:grpSpPr>
          <a:xfrm>
            <a:off x="5283543" y="1270546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4EA7408-D6C1-24F4-0A01-1BA031E2E08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27D5AC-FDC9-7202-A894-88450E1C74C5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0% discount if price is less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1" name="Graphic 90" descr="Tick with solid fill">
              <a:extLst>
                <a:ext uri="{FF2B5EF4-FFF2-40B4-BE49-F238E27FC236}">
                  <a16:creationId xmlns:a16="http://schemas.microsoft.com/office/drawing/2014/main" id="{A90EF5F1-E3BD-FCDF-C3C2-EAEFDA24C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52499F2-3F8E-BB42-B48A-F6ED7C343C89}"/>
              </a:ext>
            </a:extLst>
          </p:cNvPr>
          <p:cNvGrpSpPr/>
          <p:nvPr/>
        </p:nvGrpSpPr>
        <p:grpSpPr>
          <a:xfrm>
            <a:off x="5283543" y="1607102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AC6F01-3A5B-C098-2AFD-38C3D4209550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AB33D46-64A9-1D84-C3A1-277655215288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more than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Tick with solid fill">
              <a:extLst>
                <a:ext uri="{FF2B5EF4-FFF2-40B4-BE49-F238E27FC236}">
                  <a16:creationId xmlns:a16="http://schemas.microsoft.com/office/drawing/2014/main" id="{53B56A33-91F2-2A71-2AA9-62093ECEB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D585F-BEDC-CD04-228E-F113E227199D}"/>
              </a:ext>
            </a:extLst>
          </p:cNvPr>
          <p:cNvGrpSpPr/>
          <p:nvPr/>
        </p:nvGrpSpPr>
        <p:grpSpPr>
          <a:xfrm>
            <a:off x="5283543" y="1943658"/>
            <a:ext cx="3511597" cy="270000"/>
            <a:chOff x="5277600" y="1334174"/>
            <a:chExt cx="3511597" cy="270000"/>
          </a:xfrm>
          <a:solidFill>
            <a:srgbClr val="00B05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0FAE1C9-121D-B42F-B8E8-5EA235E64784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6D05AC8-1BA4-BF9F-00D3-FA83DB8A4F36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grpFill/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Throw an error if price is not provided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Tick with solid fill">
              <a:extLst>
                <a:ext uri="{FF2B5EF4-FFF2-40B4-BE49-F238E27FC236}">
                  <a16:creationId xmlns:a16="http://schemas.microsoft.com/office/drawing/2014/main" id="{9F180D3A-457C-6A85-8E37-047CD3862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7583827-ED82-CB3C-AF5E-9D5D2F7C5A2A}"/>
              </a:ext>
            </a:extLst>
          </p:cNvPr>
          <p:cNvSpPr txBox="1"/>
          <p:nvPr/>
        </p:nvSpPr>
        <p:spPr>
          <a:xfrm>
            <a:off x="348860" y="4105984"/>
            <a:ext cx="46551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&gt; </a:t>
            </a:r>
            <a:r>
              <a:rPr lang="en-GB" sz="1000" b="0" dirty="0">
                <a:solidFill>
                  <a:srgbClr val="DCDCAA"/>
                </a:solidFill>
                <a:effectLst/>
                <a:latin typeface="Menlo" panose="020B0609030804020204" pitchFamily="49" charset="0"/>
              </a:rPr>
              <a:t>calculateDiscount</a:t>
            </a:r>
            <a:r>
              <a:rPr lang="en-GB" sz="10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</a:t>
            </a:r>
            <a:r>
              <a:rPr lang="en-GB" sz="10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en-GB" sz="1000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900</a:t>
            </a:r>
            <a:endParaRPr lang="en-GB" sz="1000" b="0" dirty="0">
              <a:solidFill>
                <a:srgbClr val="FF0000"/>
              </a:solidFill>
              <a:effectLst/>
              <a:latin typeface="Menlo" panose="020B0609030804020204" pitchFamily="49" charset="0"/>
            </a:endParaRPr>
          </a:p>
          <a:p>
            <a:endParaRPr lang="en-GB" sz="10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4D5BE9-991D-E94B-FAE1-CACF83F69336}"/>
              </a:ext>
            </a:extLst>
          </p:cNvPr>
          <p:cNvGrpSpPr/>
          <p:nvPr/>
        </p:nvGrpSpPr>
        <p:grpSpPr>
          <a:xfrm>
            <a:off x="5283543" y="2616770"/>
            <a:ext cx="3511597" cy="270000"/>
            <a:chOff x="5277600" y="1334174"/>
            <a:chExt cx="3511597" cy="27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9AA354-828A-9486-9FDC-1BCCEA8DA332}"/>
                </a:ext>
              </a:extLst>
            </p:cNvPr>
            <p:cNvSpPr/>
            <p:nvPr/>
          </p:nvSpPr>
          <p:spPr>
            <a:xfrm>
              <a:off x="5277600" y="1334174"/>
              <a:ext cx="302400" cy="270000"/>
            </a:xfrm>
            <a:prstGeom prst="rect">
              <a:avLst/>
            </a:prstGeom>
            <a:solidFill>
              <a:srgbClr val="00B050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C0D912-AFF7-5531-F9D5-4FE36574F7FD}"/>
                </a:ext>
              </a:extLst>
            </p:cNvPr>
            <p:cNvSpPr/>
            <p:nvPr/>
          </p:nvSpPr>
          <p:spPr>
            <a:xfrm>
              <a:off x="5652120" y="1334174"/>
              <a:ext cx="3137077" cy="270000"/>
            </a:xfrm>
            <a:prstGeom prst="rect">
              <a:avLst/>
            </a:prstGeom>
            <a:solidFill>
              <a:srgbClr val="00B050"/>
            </a:solidFill>
            <a:ln w="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dirty="0">
                  <a:solidFill>
                    <a:schemeClr val="bg1"/>
                  </a:solidFill>
                </a:rPr>
                <a:t>Give 10% discount if price is 1000</a:t>
              </a:r>
              <a:endParaRPr lang="en-NL" sz="10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Tick with solid fill">
              <a:extLst>
                <a:ext uri="{FF2B5EF4-FFF2-40B4-BE49-F238E27FC236}">
                  <a16:creationId xmlns:a16="http://schemas.microsoft.com/office/drawing/2014/main" id="{69BBED4F-7D52-5AB4-9CB7-4100A0CEB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320800" y="1354535"/>
              <a:ext cx="216000" cy="21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863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Word"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>
            <a:extLst>
              <a:ext uri="{FF2B5EF4-FFF2-40B4-BE49-F238E27FC236}">
                <a16:creationId xmlns:a16="http://schemas.microsoft.com/office/drawing/2014/main" id="{B0C7F321-497F-AEA0-D6BF-26B6AFC1DC32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Unit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Recap (Testing types)</a:t>
            </a:r>
          </a:p>
        </p:txBody>
      </p:sp>
      <p:sp>
        <p:nvSpPr>
          <p:cNvPr id="49" name="Freeform 223"/>
          <p:cNvSpPr>
            <a:spLocks noEditPoints="1"/>
          </p:cNvSpPr>
          <p:nvPr/>
        </p:nvSpPr>
        <p:spPr bwMode="auto">
          <a:xfrm>
            <a:off x="6659899" y="1552626"/>
            <a:ext cx="806991" cy="869920"/>
          </a:xfrm>
          <a:custGeom>
            <a:avLst/>
            <a:gdLst>
              <a:gd name="T0" fmla="*/ 0 w 41"/>
              <a:gd name="T1" fmla="*/ 20 h 41"/>
              <a:gd name="T2" fmla="*/ 28 w 41"/>
              <a:gd name="T3" fmla="*/ 14 h 41"/>
              <a:gd name="T4" fmla="*/ 30 w 41"/>
              <a:gd name="T5" fmla="*/ 13 h 41"/>
              <a:gd name="T6" fmla="*/ 33 w 41"/>
              <a:gd name="T7" fmla="*/ 12 h 41"/>
              <a:gd name="T8" fmla="*/ 32 w 41"/>
              <a:gd name="T9" fmla="*/ 11 h 41"/>
              <a:gd name="T10" fmla="*/ 30 w 41"/>
              <a:gd name="T11" fmla="*/ 9 h 41"/>
              <a:gd name="T12" fmla="*/ 29 w 41"/>
              <a:gd name="T13" fmla="*/ 10 h 41"/>
              <a:gd name="T14" fmla="*/ 28 w 41"/>
              <a:gd name="T15" fmla="*/ 9 h 41"/>
              <a:gd name="T16" fmla="*/ 25 w 41"/>
              <a:gd name="T17" fmla="*/ 8 h 41"/>
              <a:gd name="T18" fmla="*/ 25 w 41"/>
              <a:gd name="T19" fmla="*/ 10 h 41"/>
              <a:gd name="T20" fmla="*/ 24 w 41"/>
              <a:gd name="T21" fmla="*/ 13 h 41"/>
              <a:gd name="T22" fmla="*/ 22 w 41"/>
              <a:gd name="T23" fmla="*/ 11 h 41"/>
              <a:gd name="T24" fmla="*/ 19 w 41"/>
              <a:gd name="T25" fmla="*/ 9 h 41"/>
              <a:gd name="T26" fmla="*/ 20 w 41"/>
              <a:gd name="T27" fmla="*/ 7 h 41"/>
              <a:gd name="T28" fmla="*/ 23 w 41"/>
              <a:gd name="T29" fmla="*/ 6 h 41"/>
              <a:gd name="T30" fmla="*/ 22 w 41"/>
              <a:gd name="T31" fmla="*/ 5 h 41"/>
              <a:gd name="T32" fmla="*/ 20 w 41"/>
              <a:gd name="T33" fmla="*/ 5 h 41"/>
              <a:gd name="T34" fmla="*/ 18 w 41"/>
              <a:gd name="T35" fmla="*/ 4 h 41"/>
              <a:gd name="T36" fmla="*/ 19 w 41"/>
              <a:gd name="T37" fmla="*/ 5 h 41"/>
              <a:gd name="T38" fmla="*/ 17 w 41"/>
              <a:gd name="T39" fmla="*/ 5 h 41"/>
              <a:gd name="T40" fmla="*/ 15 w 41"/>
              <a:gd name="T41" fmla="*/ 4 h 41"/>
              <a:gd name="T42" fmla="*/ 14 w 41"/>
              <a:gd name="T43" fmla="*/ 5 h 41"/>
              <a:gd name="T44" fmla="*/ 16 w 41"/>
              <a:gd name="T45" fmla="*/ 5 h 41"/>
              <a:gd name="T46" fmla="*/ 14 w 41"/>
              <a:gd name="T47" fmla="*/ 6 h 41"/>
              <a:gd name="T48" fmla="*/ 6 w 41"/>
              <a:gd name="T49" fmla="*/ 11 h 41"/>
              <a:gd name="T50" fmla="*/ 7 w 41"/>
              <a:gd name="T51" fmla="*/ 13 h 41"/>
              <a:gd name="T52" fmla="*/ 9 w 41"/>
              <a:gd name="T53" fmla="*/ 14 h 41"/>
              <a:gd name="T54" fmla="*/ 8 w 41"/>
              <a:gd name="T55" fmla="*/ 17 h 41"/>
              <a:gd name="T56" fmla="*/ 10 w 41"/>
              <a:gd name="T57" fmla="*/ 20 h 41"/>
              <a:gd name="T58" fmla="*/ 12 w 41"/>
              <a:gd name="T59" fmla="*/ 23 h 41"/>
              <a:gd name="T60" fmla="*/ 13 w 41"/>
              <a:gd name="T61" fmla="*/ 24 h 41"/>
              <a:gd name="T62" fmla="*/ 12 w 41"/>
              <a:gd name="T63" fmla="*/ 21 h 41"/>
              <a:gd name="T64" fmla="*/ 14 w 41"/>
              <a:gd name="T65" fmla="*/ 24 h 41"/>
              <a:gd name="T66" fmla="*/ 16 w 41"/>
              <a:gd name="T67" fmla="*/ 27 h 41"/>
              <a:gd name="T68" fmla="*/ 20 w 41"/>
              <a:gd name="T69" fmla="*/ 29 h 41"/>
              <a:gd name="T70" fmla="*/ 23 w 41"/>
              <a:gd name="T71" fmla="*/ 31 h 41"/>
              <a:gd name="T72" fmla="*/ 24 w 41"/>
              <a:gd name="T73" fmla="*/ 31 h 41"/>
              <a:gd name="T74" fmla="*/ 23 w 41"/>
              <a:gd name="T75" fmla="*/ 29 h 41"/>
              <a:gd name="T76" fmla="*/ 21 w 41"/>
              <a:gd name="T77" fmla="*/ 28 h 41"/>
              <a:gd name="T78" fmla="*/ 21 w 41"/>
              <a:gd name="T79" fmla="*/ 25 h 41"/>
              <a:gd name="T80" fmla="*/ 19 w 41"/>
              <a:gd name="T81" fmla="*/ 27 h 41"/>
              <a:gd name="T82" fmla="*/ 18 w 41"/>
              <a:gd name="T83" fmla="*/ 22 h 41"/>
              <a:gd name="T84" fmla="*/ 20 w 41"/>
              <a:gd name="T85" fmla="*/ 22 h 41"/>
              <a:gd name="T86" fmla="*/ 21 w 41"/>
              <a:gd name="T87" fmla="*/ 21 h 41"/>
              <a:gd name="T88" fmla="*/ 23 w 41"/>
              <a:gd name="T89" fmla="*/ 22 h 41"/>
              <a:gd name="T90" fmla="*/ 24 w 41"/>
              <a:gd name="T91" fmla="*/ 22 h 41"/>
              <a:gd name="T92" fmla="*/ 25 w 41"/>
              <a:gd name="T93" fmla="*/ 19 h 41"/>
              <a:gd name="T94" fmla="*/ 25 w 41"/>
              <a:gd name="T95" fmla="*/ 18 h 41"/>
              <a:gd name="T96" fmla="*/ 27 w 41"/>
              <a:gd name="T97" fmla="*/ 17 h 41"/>
              <a:gd name="T98" fmla="*/ 29 w 41"/>
              <a:gd name="T99" fmla="*/ 15 h 41"/>
              <a:gd name="T100" fmla="*/ 30 w 41"/>
              <a:gd name="T101" fmla="*/ 14 h 41"/>
              <a:gd name="T102" fmla="*/ 28 w 41"/>
              <a:gd name="T103" fmla="*/ 14 h 41"/>
              <a:gd name="T104" fmla="*/ 32 w 41"/>
              <a:gd name="T105" fmla="*/ 32 h 41"/>
              <a:gd name="T106" fmla="*/ 29 w 41"/>
              <a:gd name="T107" fmla="*/ 31 h 41"/>
              <a:gd name="T108" fmla="*/ 27 w 41"/>
              <a:gd name="T109" fmla="*/ 31 h 41"/>
              <a:gd name="T110" fmla="*/ 26 w 41"/>
              <a:gd name="T111" fmla="*/ 30 h 41"/>
              <a:gd name="T112" fmla="*/ 25 w 41"/>
              <a:gd name="T113" fmla="*/ 33 h 41"/>
              <a:gd name="T114" fmla="*/ 24 w 41"/>
              <a:gd name="T115" fmla="*/ 36 h 41"/>
              <a:gd name="T116" fmla="*/ 33 w 41"/>
              <a:gd name="T117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1" h="41">
                <a:moveTo>
                  <a:pt x="41" y="20"/>
                </a:moveTo>
                <a:cubicBezTo>
                  <a:pt x="41" y="32"/>
                  <a:pt x="32" y="41"/>
                  <a:pt x="21" y="41"/>
                </a:cubicBezTo>
                <a:cubicBezTo>
                  <a:pt x="9" y="41"/>
                  <a:pt x="0" y="32"/>
                  <a:pt x="0" y="20"/>
                </a:cubicBezTo>
                <a:cubicBezTo>
                  <a:pt x="0" y="9"/>
                  <a:pt x="9" y="0"/>
                  <a:pt x="21" y="0"/>
                </a:cubicBezTo>
                <a:cubicBezTo>
                  <a:pt x="32" y="0"/>
                  <a:pt x="41" y="9"/>
                  <a:pt x="41" y="20"/>
                </a:cubicBezTo>
                <a:close/>
                <a:moveTo>
                  <a:pt x="28" y="14"/>
                </a:moveTo>
                <a:cubicBezTo>
                  <a:pt x="28" y="14"/>
                  <a:pt x="28" y="14"/>
                  <a:pt x="28" y="14"/>
                </a:cubicBezTo>
                <a:cubicBezTo>
                  <a:pt x="28" y="14"/>
                  <a:pt x="28" y="13"/>
                  <a:pt x="28" y="13"/>
                </a:cubicBezTo>
                <a:cubicBezTo>
                  <a:pt x="29" y="13"/>
                  <a:pt x="29" y="13"/>
                  <a:pt x="30" y="13"/>
                </a:cubicBezTo>
                <a:cubicBezTo>
                  <a:pt x="30" y="13"/>
                  <a:pt x="31" y="13"/>
                  <a:pt x="31" y="13"/>
                </a:cubicBezTo>
                <a:cubicBezTo>
                  <a:pt x="31" y="13"/>
                  <a:pt x="32" y="13"/>
                  <a:pt x="32" y="13"/>
                </a:cubicBezTo>
                <a:cubicBezTo>
                  <a:pt x="32" y="12"/>
                  <a:pt x="33" y="13"/>
                  <a:pt x="33" y="12"/>
                </a:cubicBezTo>
                <a:cubicBezTo>
                  <a:pt x="33" y="12"/>
                  <a:pt x="33" y="12"/>
                  <a:pt x="33" y="12"/>
                </a:cubicBezTo>
                <a:cubicBezTo>
                  <a:pt x="32" y="12"/>
                  <a:pt x="32" y="11"/>
                  <a:pt x="32" y="11"/>
                </a:cubicBezTo>
                <a:cubicBezTo>
                  <a:pt x="32" y="11"/>
                  <a:pt x="32" y="11"/>
                  <a:pt x="32" y="11"/>
                </a:cubicBezTo>
                <a:cubicBezTo>
                  <a:pt x="32" y="11"/>
                  <a:pt x="31" y="11"/>
                  <a:pt x="31" y="11"/>
                </a:cubicBezTo>
                <a:cubicBezTo>
                  <a:pt x="31" y="11"/>
                  <a:pt x="31" y="10"/>
                  <a:pt x="31" y="10"/>
                </a:cubicBezTo>
                <a:cubicBezTo>
                  <a:pt x="30" y="10"/>
                  <a:pt x="30" y="10"/>
                  <a:pt x="30" y="9"/>
                </a:cubicBezTo>
                <a:cubicBezTo>
                  <a:pt x="30" y="9"/>
                  <a:pt x="30" y="9"/>
                  <a:pt x="30" y="9"/>
                </a:cubicBezTo>
                <a:cubicBezTo>
                  <a:pt x="29" y="9"/>
                  <a:pt x="29" y="9"/>
                  <a:pt x="29" y="9"/>
                </a:cubicBezTo>
                <a:cubicBezTo>
                  <a:pt x="29" y="9"/>
                  <a:pt x="29" y="9"/>
                  <a:pt x="29" y="10"/>
                </a:cubicBezTo>
                <a:cubicBezTo>
                  <a:pt x="28" y="10"/>
                  <a:pt x="28" y="10"/>
                  <a:pt x="28" y="10"/>
                </a:cubicBezTo>
                <a:cubicBezTo>
                  <a:pt x="29" y="10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8"/>
                  <a:pt x="27" y="8"/>
                  <a:pt x="27" y="8"/>
                </a:cubicBezTo>
                <a:cubicBezTo>
                  <a:pt x="27" y="8"/>
                  <a:pt x="25" y="8"/>
                  <a:pt x="25" y="8"/>
                </a:cubicBezTo>
                <a:cubicBezTo>
                  <a:pt x="25" y="8"/>
                  <a:pt x="25" y="8"/>
                  <a:pt x="25" y="9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10"/>
                  <a:pt x="26" y="10"/>
                  <a:pt x="25" y="10"/>
                </a:cubicBezTo>
                <a:cubicBezTo>
                  <a:pt x="25" y="11"/>
                  <a:pt x="25" y="11"/>
                  <a:pt x="24" y="11"/>
                </a:cubicBezTo>
                <a:cubicBezTo>
                  <a:pt x="24" y="11"/>
                  <a:pt x="25" y="12"/>
                  <a:pt x="25" y="12"/>
                </a:cubicBezTo>
                <a:cubicBezTo>
                  <a:pt x="25" y="12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cubicBezTo>
                  <a:pt x="23" y="11"/>
                  <a:pt x="22" y="11"/>
                  <a:pt x="22" y="11"/>
                </a:cubicBezTo>
                <a:cubicBezTo>
                  <a:pt x="22" y="11"/>
                  <a:pt x="21" y="10"/>
                  <a:pt x="21" y="10"/>
                </a:cubicBezTo>
                <a:cubicBezTo>
                  <a:pt x="21" y="10"/>
                  <a:pt x="20" y="10"/>
                  <a:pt x="20" y="10"/>
                </a:cubicBezTo>
                <a:cubicBezTo>
                  <a:pt x="20" y="10"/>
                  <a:pt x="19" y="9"/>
                  <a:pt x="19" y="9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8"/>
                  <a:pt x="19" y="8"/>
                  <a:pt x="19" y="8"/>
                </a:cubicBezTo>
                <a:cubicBezTo>
                  <a:pt x="20" y="8"/>
                  <a:pt x="20" y="7"/>
                  <a:pt x="20" y="7"/>
                </a:cubicBezTo>
                <a:cubicBezTo>
                  <a:pt x="20" y="7"/>
                  <a:pt x="21" y="7"/>
                  <a:pt x="21" y="7"/>
                </a:cubicBezTo>
                <a:cubicBezTo>
                  <a:pt x="21" y="7"/>
                  <a:pt x="22" y="6"/>
                  <a:pt x="22" y="6"/>
                </a:cubicBezTo>
                <a:cubicBezTo>
                  <a:pt x="22" y="6"/>
                  <a:pt x="23" y="6"/>
                  <a:pt x="23" y="6"/>
                </a:cubicBezTo>
                <a:cubicBezTo>
                  <a:pt x="24" y="6"/>
                  <a:pt x="24" y="6"/>
                  <a:pt x="23" y="5"/>
                </a:cubicBezTo>
                <a:cubicBezTo>
                  <a:pt x="24" y="5"/>
                  <a:pt x="23" y="5"/>
                  <a:pt x="23" y="5"/>
                </a:cubicBezTo>
                <a:cubicBezTo>
                  <a:pt x="23" y="5"/>
                  <a:pt x="22" y="5"/>
                  <a:pt x="22" y="5"/>
                </a:cubicBezTo>
                <a:cubicBezTo>
                  <a:pt x="22" y="5"/>
                  <a:pt x="22" y="6"/>
                  <a:pt x="21" y="6"/>
                </a:cubicBez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1" y="5"/>
                  <a:pt x="20" y="5"/>
                </a:cubicBezTo>
                <a:cubicBezTo>
                  <a:pt x="21" y="5"/>
                  <a:pt x="20" y="5"/>
                  <a:pt x="20" y="5"/>
                </a:cubicBezTo>
                <a:cubicBezTo>
                  <a:pt x="20" y="4"/>
                  <a:pt x="20" y="4"/>
                  <a:pt x="19" y="4"/>
                </a:cubicBezTo>
                <a:cubicBezTo>
                  <a:pt x="19" y="4"/>
                  <a:pt x="18" y="4"/>
                  <a:pt x="18" y="4"/>
                </a:cubicBezTo>
                <a:cubicBezTo>
                  <a:pt x="18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18" y="6"/>
                  <a:pt x="19" y="6"/>
                  <a:pt x="18" y="6"/>
                </a:cubicBezTo>
                <a:cubicBezTo>
                  <a:pt x="18" y="6"/>
                  <a:pt x="18" y="6"/>
                  <a:pt x="18" y="5"/>
                </a:cubicBezTo>
                <a:cubicBezTo>
                  <a:pt x="18" y="6"/>
                  <a:pt x="17" y="5"/>
                  <a:pt x="17" y="5"/>
                </a:cubicBezTo>
                <a:cubicBezTo>
                  <a:pt x="17" y="5"/>
                  <a:pt x="16" y="6"/>
                  <a:pt x="16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4"/>
                  <a:pt x="15" y="4"/>
                </a:cubicBezTo>
                <a:cubicBezTo>
                  <a:pt x="14" y="5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3" y="5"/>
                  <a:pt x="14" y="5"/>
                  <a:pt x="14" y="5"/>
                </a:cubicBezTo>
                <a:cubicBezTo>
                  <a:pt x="14" y="5"/>
                  <a:pt x="15" y="5"/>
                  <a:pt x="15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5" y="5"/>
                  <a:pt x="16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5" y="5"/>
                  <a:pt x="14" y="5"/>
                  <a:pt x="14" y="6"/>
                </a:cubicBezTo>
                <a:cubicBezTo>
                  <a:pt x="14" y="6"/>
                  <a:pt x="14" y="6"/>
                  <a:pt x="14" y="6"/>
                </a:cubicBezTo>
                <a:cubicBezTo>
                  <a:pt x="14" y="6"/>
                  <a:pt x="14" y="5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0" y="7"/>
                  <a:pt x="8" y="9"/>
                  <a:pt x="6" y="11"/>
                </a:cubicBezTo>
                <a:cubicBezTo>
                  <a:pt x="6" y="11"/>
                  <a:pt x="7" y="12"/>
                  <a:pt x="7" y="12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12"/>
                  <a:pt x="7" y="12"/>
                  <a:pt x="7" y="13"/>
                </a:cubicBezTo>
                <a:cubicBezTo>
                  <a:pt x="7" y="13"/>
                  <a:pt x="8" y="13"/>
                  <a:pt x="8" y="13"/>
                </a:cubicBezTo>
                <a:cubicBezTo>
                  <a:pt x="9" y="13"/>
                  <a:pt x="9" y="14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8" y="14"/>
                  <a:pt x="8" y="14"/>
                </a:cubicBezTo>
                <a:cubicBezTo>
                  <a:pt x="8" y="14"/>
                  <a:pt x="8" y="15"/>
                  <a:pt x="9" y="15"/>
                </a:cubicBezTo>
                <a:cubicBezTo>
                  <a:pt x="8" y="15"/>
                  <a:pt x="8" y="16"/>
                  <a:pt x="8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8" y="17"/>
                  <a:pt x="8" y="18"/>
                  <a:pt x="9" y="18"/>
                </a:cubicBezTo>
                <a:cubicBezTo>
                  <a:pt x="9" y="18"/>
                  <a:pt x="10" y="20"/>
                  <a:pt x="10" y="20"/>
                </a:cubicBezTo>
                <a:cubicBezTo>
                  <a:pt x="10" y="20"/>
                  <a:pt x="10" y="20"/>
                  <a:pt x="11" y="20"/>
                </a:cubicBezTo>
                <a:cubicBezTo>
                  <a:pt x="11" y="21"/>
                  <a:pt x="11" y="21"/>
                  <a:pt x="11" y="22"/>
                </a:cubicBezTo>
                <a:cubicBezTo>
                  <a:pt x="11" y="22"/>
                  <a:pt x="12" y="22"/>
                  <a:pt x="12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3"/>
                  <a:pt x="12" y="23"/>
                  <a:pt x="13" y="24"/>
                </a:cubicBezTo>
                <a:cubicBezTo>
                  <a:pt x="13" y="24"/>
                  <a:pt x="13" y="24"/>
                  <a:pt x="13" y="24"/>
                </a:cubicBezTo>
                <a:cubicBezTo>
                  <a:pt x="13" y="24"/>
                  <a:pt x="13" y="23"/>
                  <a:pt x="12" y="23"/>
                </a:cubicBezTo>
                <a:cubicBezTo>
                  <a:pt x="12" y="22"/>
                  <a:pt x="12" y="22"/>
                  <a:pt x="12" y="22"/>
                </a:cubicBezTo>
                <a:cubicBezTo>
                  <a:pt x="12" y="22"/>
                  <a:pt x="12" y="21"/>
                  <a:pt x="12" y="21"/>
                </a:cubicBezTo>
                <a:cubicBezTo>
                  <a:pt x="12" y="21"/>
                  <a:pt x="12" y="21"/>
                  <a:pt x="12" y="21"/>
                </a:cubicBezTo>
                <a:cubicBezTo>
                  <a:pt x="12" y="22"/>
                  <a:pt x="13" y="23"/>
                  <a:pt x="13" y="23"/>
                </a:cubicBezTo>
                <a:cubicBezTo>
                  <a:pt x="13" y="23"/>
                  <a:pt x="14" y="24"/>
                  <a:pt x="14" y="24"/>
                </a:cubicBezTo>
                <a:cubicBezTo>
                  <a:pt x="14" y="24"/>
                  <a:pt x="15" y="25"/>
                  <a:pt x="15" y="25"/>
                </a:cubicBezTo>
                <a:cubicBezTo>
                  <a:pt x="15" y="25"/>
                  <a:pt x="15" y="26"/>
                  <a:pt x="15" y="26"/>
                </a:cubicBezTo>
                <a:cubicBezTo>
                  <a:pt x="15" y="27"/>
                  <a:pt x="16" y="27"/>
                  <a:pt x="16" y="27"/>
                </a:cubicBezTo>
                <a:cubicBezTo>
                  <a:pt x="17" y="27"/>
                  <a:pt x="17" y="28"/>
                  <a:pt x="17" y="28"/>
                </a:cubicBezTo>
                <a:cubicBezTo>
                  <a:pt x="18" y="28"/>
                  <a:pt x="18" y="28"/>
                  <a:pt x="19" y="28"/>
                </a:cubicBezTo>
                <a:cubicBezTo>
                  <a:pt x="19" y="28"/>
                  <a:pt x="19" y="28"/>
                  <a:pt x="20" y="29"/>
                </a:cubicBezTo>
                <a:cubicBezTo>
                  <a:pt x="20" y="29"/>
                  <a:pt x="21" y="29"/>
                  <a:pt x="21" y="29"/>
                </a:cubicBezTo>
                <a:cubicBezTo>
                  <a:pt x="21" y="29"/>
                  <a:pt x="22" y="30"/>
                  <a:pt x="22" y="30"/>
                </a:cubicBezTo>
                <a:cubicBezTo>
                  <a:pt x="22" y="31"/>
                  <a:pt x="23" y="31"/>
                  <a:pt x="23" y="31"/>
                </a:cubicBezTo>
                <a:cubicBezTo>
                  <a:pt x="23" y="31"/>
                  <a:pt x="23" y="31"/>
                  <a:pt x="23" y="31"/>
                </a:cubicBezTo>
                <a:cubicBezTo>
                  <a:pt x="23" y="31"/>
                  <a:pt x="24" y="32"/>
                  <a:pt x="24" y="32"/>
                </a:cubicBezTo>
                <a:cubicBezTo>
                  <a:pt x="24" y="31"/>
                  <a:pt x="24" y="31"/>
                  <a:pt x="24" y="31"/>
                </a:cubicBezTo>
                <a:cubicBezTo>
                  <a:pt x="24" y="31"/>
                  <a:pt x="23" y="31"/>
                  <a:pt x="23" y="30"/>
                </a:cubicBezTo>
                <a:cubicBezTo>
                  <a:pt x="23" y="30"/>
                  <a:pt x="22" y="29"/>
                  <a:pt x="23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3" y="28"/>
                  <a:pt x="23" y="28"/>
                  <a:pt x="22" y="28"/>
                </a:cubicBezTo>
                <a:cubicBezTo>
                  <a:pt x="22" y="28"/>
                  <a:pt x="22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1" y="28"/>
                  <a:pt x="21" y="27"/>
                  <a:pt x="21" y="27"/>
                </a:cubicBezTo>
                <a:cubicBezTo>
                  <a:pt x="21" y="26"/>
                  <a:pt x="22" y="25"/>
                  <a:pt x="21" y="25"/>
                </a:cubicBezTo>
                <a:cubicBezTo>
                  <a:pt x="21" y="25"/>
                  <a:pt x="20" y="26"/>
                  <a:pt x="20" y="26"/>
                </a:cubicBezTo>
                <a:cubicBezTo>
                  <a:pt x="20" y="26"/>
                  <a:pt x="20" y="27"/>
                  <a:pt x="20" y="27"/>
                </a:cubicBezTo>
                <a:cubicBezTo>
                  <a:pt x="20" y="27"/>
                  <a:pt x="19" y="27"/>
                  <a:pt x="19" y="27"/>
                </a:cubicBezTo>
                <a:cubicBezTo>
                  <a:pt x="18" y="26"/>
                  <a:pt x="18" y="25"/>
                  <a:pt x="18" y="25"/>
                </a:cubicBezTo>
                <a:cubicBezTo>
                  <a:pt x="18" y="24"/>
                  <a:pt x="18" y="24"/>
                  <a:pt x="18" y="23"/>
                </a:cubicBezTo>
                <a:cubicBezTo>
                  <a:pt x="18" y="23"/>
                  <a:pt x="18" y="22"/>
                  <a:pt x="18" y="22"/>
                </a:cubicBezTo>
                <a:cubicBezTo>
                  <a:pt x="18" y="22"/>
                  <a:pt x="19" y="22"/>
                  <a:pt x="19" y="22"/>
                </a:cubicBezTo>
                <a:cubicBezTo>
                  <a:pt x="19" y="22"/>
                  <a:pt x="18" y="22"/>
                  <a:pt x="18" y="22"/>
                </a:cubicBezTo>
                <a:cubicBezTo>
                  <a:pt x="19" y="22"/>
                  <a:pt x="20" y="22"/>
                  <a:pt x="20" y="22"/>
                </a:cubicBezTo>
                <a:cubicBezTo>
                  <a:pt x="20" y="22"/>
                  <a:pt x="20" y="22"/>
                  <a:pt x="21" y="22"/>
                </a:cubicBezTo>
                <a:cubicBezTo>
                  <a:pt x="21" y="22"/>
                  <a:pt x="20" y="21"/>
                  <a:pt x="20" y="21"/>
                </a:cubicBezTo>
                <a:cubicBezTo>
                  <a:pt x="21" y="22"/>
                  <a:pt x="21" y="22"/>
                  <a:pt x="21" y="21"/>
                </a:cubicBezTo>
                <a:cubicBezTo>
                  <a:pt x="21" y="22"/>
                  <a:pt x="22" y="22"/>
                  <a:pt x="22" y="22"/>
                </a:cubicBezTo>
                <a:cubicBezTo>
                  <a:pt x="22" y="22"/>
                  <a:pt x="22" y="22"/>
                  <a:pt x="23" y="22"/>
                </a:cubicBezTo>
                <a:cubicBezTo>
                  <a:pt x="23" y="22"/>
                  <a:pt x="23" y="22"/>
                  <a:pt x="23" y="22"/>
                </a:cubicBezTo>
                <a:cubicBezTo>
                  <a:pt x="23" y="23"/>
                  <a:pt x="23" y="24"/>
                  <a:pt x="24" y="24"/>
                </a:cubicBezTo>
                <a:cubicBezTo>
                  <a:pt x="24" y="24"/>
                  <a:pt x="24" y="23"/>
                  <a:pt x="24" y="23"/>
                </a:cubicBezTo>
                <a:cubicBezTo>
                  <a:pt x="24" y="23"/>
                  <a:pt x="24" y="22"/>
                  <a:pt x="24" y="22"/>
                </a:cubicBezTo>
                <a:cubicBezTo>
                  <a:pt x="23" y="22"/>
                  <a:pt x="23" y="21"/>
                  <a:pt x="24" y="21"/>
                </a:cubicBezTo>
                <a:cubicBezTo>
                  <a:pt x="24" y="20"/>
                  <a:pt x="25" y="20"/>
                  <a:pt x="25" y="20"/>
                </a:cubicBezTo>
                <a:cubicBezTo>
                  <a:pt x="25" y="20"/>
                  <a:pt x="25" y="19"/>
                  <a:pt x="25" y="19"/>
                </a:cubicBezTo>
                <a:cubicBezTo>
                  <a:pt x="25" y="19"/>
                  <a:pt x="26" y="19"/>
                  <a:pt x="26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18"/>
                  <a:pt x="25" y="18"/>
                  <a:pt x="25" y="18"/>
                </a:cubicBezTo>
                <a:cubicBezTo>
                  <a:pt x="25" y="18"/>
                  <a:pt x="25" y="18"/>
                  <a:pt x="26" y="18"/>
                </a:cubicBezTo>
                <a:cubicBezTo>
                  <a:pt x="26" y="18"/>
                  <a:pt x="26" y="18"/>
                  <a:pt x="26" y="17"/>
                </a:cubicBezTo>
                <a:cubicBezTo>
                  <a:pt x="26" y="17"/>
                  <a:pt x="27" y="17"/>
                  <a:pt x="27" y="17"/>
                </a:cubicBezTo>
                <a:cubicBezTo>
                  <a:pt x="28" y="17"/>
                  <a:pt x="27" y="16"/>
                  <a:pt x="28" y="16"/>
                </a:cubicBezTo>
                <a:cubicBezTo>
                  <a:pt x="28" y="16"/>
                  <a:pt x="28" y="16"/>
                  <a:pt x="28" y="16"/>
                </a:cubicBezTo>
                <a:cubicBezTo>
                  <a:pt x="28" y="16"/>
                  <a:pt x="29" y="15"/>
                  <a:pt x="29" y="15"/>
                </a:cubicBezTo>
                <a:cubicBezTo>
                  <a:pt x="29" y="15"/>
                  <a:pt x="30" y="15"/>
                  <a:pt x="29" y="14"/>
                </a:cubicBezTo>
                <a:cubicBezTo>
                  <a:pt x="30" y="14"/>
                  <a:pt x="29" y="14"/>
                  <a:pt x="29" y="14"/>
                </a:cubicBezTo>
                <a:cubicBezTo>
                  <a:pt x="29" y="14"/>
                  <a:pt x="29" y="14"/>
                  <a:pt x="30" y="14"/>
                </a:cubicBezTo>
                <a:cubicBezTo>
                  <a:pt x="30" y="14"/>
                  <a:pt x="30" y="14"/>
                  <a:pt x="29" y="14"/>
                </a:cubicBezTo>
                <a:cubicBezTo>
                  <a:pt x="29" y="13"/>
                  <a:pt x="28" y="14"/>
                  <a:pt x="28" y="14"/>
                </a:cubicBezTo>
                <a:cubicBezTo>
                  <a:pt x="28" y="14"/>
                  <a:pt x="28" y="14"/>
                  <a:pt x="28" y="14"/>
                </a:cubicBezTo>
                <a:close/>
                <a:moveTo>
                  <a:pt x="33" y="32"/>
                </a:moveTo>
                <a:cubicBezTo>
                  <a:pt x="33" y="32"/>
                  <a:pt x="33" y="32"/>
                  <a:pt x="33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31"/>
                  <a:pt x="31" y="31"/>
                  <a:pt x="31" y="31"/>
                </a:cubicBezTo>
                <a:cubicBezTo>
                  <a:pt x="31" y="31"/>
                  <a:pt x="30" y="30"/>
                  <a:pt x="30" y="30"/>
                </a:cubicBezTo>
                <a:cubicBezTo>
                  <a:pt x="30" y="30"/>
                  <a:pt x="29" y="31"/>
                  <a:pt x="29" y="31"/>
                </a:cubicBezTo>
                <a:cubicBezTo>
                  <a:pt x="29" y="30"/>
                  <a:pt x="29" y="30"/>
                  <a:pt x="28" y="30"/>
                </a:cubicBezTo>
                <a:cubicBezTo>
                  <a:pt x="28" y="30"/>
                  <a:pt x="28" y="29"/>
                  <a:pt x="27" y="30"/>
                </a:cubicBezTo>
                <a:cubicBezTo>
                  <a:pt x="27" y="30"/>
                  <a:pt x="27" y="30"/>
                  <a:pt x="27" y="31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29"/>
                  <a:pt x="26" y="30"/>
                  <a:pt x="26" y="30"/>
                </a:cubicBezTo>
                <a:cubicBezTo>
                  <a:pt x="26" y="30"/>
                  <a:pt x="26" y="30"/>
                  <a:pt x="26" y="30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2"/>
                  <a:pt x="25" y="33"/>
                </a:cubicBezTo>
                <a:cubicBezTo>
                  <a:pt x="25" y="33"/>
                  <a:pt x="25" y="34"/>
                  <a:pt x="25" y="34"/>
                </a:cubicBezTo>
                <a:cubicBezTo>
                  <a:pt x="24" y="34"/>
                  <a:pt x="24" y="35"/>
                  <a:pt x="24" y="35"/>
                </a:cubicBezTo>
                <a:cubicBezTo>
                  <a:pt x="24" y="35"/>
                  <a:pt x="24" y="36"/>
                  <a:pt x="24" y="36"/>
                </a:cubicBezTo>
                <a:cubicBezTo>
                  <a:pt x="24" y="36"/>
                  <a:pt x="24" y="36"/>
                  <a:pt x="24" y="37"/>
                </a:cubicBezTo>
                <a:cubicBezTo>
                  <a:pt x="24" y="37"/>
                  <a:pt x="24" y="37"/>
                  <a:pt x="24" y="37"/>
                </a:cubicBezTo>
                <a:cubicBezTo>
                  <a:pt x="27" y="37"/>
                  <a:pt x="31" y="35"/>
                  <a:pt x="33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7" tIns="34289" rIns="68577" bIns="34289" numCol="1" anchor="t" anchorCtr="0" compatLnSpc="1">
            <a:prstTxWarp prst="textNoShape">
              <a:avLst/>
            </a:prstTxWarp>
          </a:bodyPr>
          <a:lstStyle/>
          <a:p>
            <a:pPr defTabSz="685783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6B520029-AE91-023B-0832-72A6CD73F762}"/>
              </a:ext>
            </a:extLst>
          </p:cNvPr>
          <p:cNvSpPr/>
          <p:nvPr/>
        </p:nvSpPr>
        <p:spPr>
          <a:xfrm>
            <a:off x="359002" y="1519588"/>
            <a:ext cx="3600000" cy="576064"/>
          </a:xfrm>
          <a:prstGeom prst="homePlat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Functional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9E9E5E7F-85F2-B57C-EB3A-0F37AF228FF7}"/>
              </a:ext>
            </a:extLst>
          </p:cNvPr>
          <p:cNvSpPr/>
          <p:nvPr/>
        </p:nvSpPr>
        <p:spPr>
          <a:xfrm>
            <a:off x="348860" y="2239507"/>
            <a:ext cx="3600000" cy="576064"/>
          </a:xfrm>
          <a:prstGeom prst="homePlate">
            <a:avLst/>
          </a:prstGeom>
          <a:solidFill>
            <a:srgbClr val="FFFD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E2E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6AF8C5CD-AEC0-67EA-39DE-633C8C65BA8B}"/>
              </a:ext>
            </a:extLst>
          </p:cNvPr>
          <p:cNvSpPr/>
          <p:nvPr/>
        </p:nvSpPr>
        <p:spPr>
          <a:xfrm>
            <a:off x="359002" y="4399264"/>
            <a:ext cx="3588299" cy="576064"/>
          </a:xfrm>
          <a:prstGeom prst="homePlate">
            <a:avLst/>
          </a:prstGeom>
          <a:solidFill>
            <a:srgbClr val="73FB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C2BA6029-67E7-924C-1F05-B6E26C04714F}"/>
              </a:ext>
            </a:extLst>
          </p:cNvPr>
          <p:cNvSpPr/>
          <p:nvPr/>
        </p:nvSpPr>
        <p:spPr>
          <a:xfrm flipH="1">
            <a:off x="4572000" y="796910"/>
            <a:ext cx="3576602" cy="576064"/>
          </a:xfrm>
          <a:prstGeom prst="homePlat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utation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4DBDD1F-5B63-4EAD-F6E1-807224133DD9}"/>
              </a:ext>
            </a:extLst>
          </p:cNvPr>
          <p:cNvSpPr/>
          <p:nvPr/>
        </p:nvSpPr>
        <p:spPr>
          <a:xfrm>
            <a:off x="359002" y="2959426"/>
            <a:ext cx="3588299" cy="576064"/>
          </a:xfrm>
          <a:prstGeom prst="homePlate">
            <a:avLst/>
          </a:prstGeom>
          <a:solidFill>
            <a:srgbClr val="76D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E1CD294C-46C9-1E2D-09DC-D7D4D6E2616C}"/>
              </a:ext>
            </a:extLst>
          </p:cNvPr>
          <p:cNvSpPr/>
          <p:nvPr/>
        </p:nvSpPr>
        <p:spPr>
          <a:xfrm flipH="1">
            <a:off x="4588654" y="1517519"/>
            <a:ext cx="3588299" cy="576064"/>
          </a:xfrm>
          <a:prstGeom prst="homePlate">
            <a:avLst/>
          </a:prstGeom>
          <a:solidFill>
            <a:srgbClr val="7A81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emory leakage</a:t>
            </a: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398C1DE3-75EB-9CDC-C515-F69B87339964}"/>
              </a:ext>
            </a:extLst>
          </p:cNvPr>
          <p:cNvSpPr/>
          <p:nvPr/>
        </p:nvSpPr>
        <p:spPr>
          <a:xfrm flipH="1">
            <a:off x="4600352" y="2238128"/>
            <a:ext cx="3588299" cy="576064"/>
          </a:xfrm>
          <a:prstGeom prst="homePlate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napshot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D8FFCF5-4053-D9AC-7B31-FB56B5D613D2}"/>
              </a:ext>
            </a:extLst>
          </p:cNvPr>
          <p:cNvSpPr/>
          <p:nvPr/>
        </p:nvSpPr>
        <p:spPr>
          <a:xfrm flipH="1">
            <a:off x="4600352" y="2958737"/>
            <a:ext cx="3599999" cy="576064"/>
          </a:xfrm>
          <a:prstGeom prst="homePlate">
            <a:avLst/>
          </a:prstGeom>
          <a:solidFill>
            <a:srgbClr val="FF8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Security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21C9AEE-9710-33E5-3B8B-2CA0E9BF53F7}"/>
              </a:ext>
            </a:extLst>
          </p:cNvPr>
          <p:cNvSpPr/>
          <p:nvPr/>
        </p:nvSpPr>
        <p:spPr>
          <a:xfrm flipH="1">
            <a:off x="4588654" y="3679345"/>
            <a:ext cx="3599998" cy="576064"/>
          </a:xfrm>
          <a:prstGeom prst="homePlate">
            <a:avLst/>
          </a:prstGeom>
          <a:solidFill>
            <a:srgbClr val="FF8A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de quality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ECBE0CE3-5BD6-B6F5-482D-DD2478B097AB}"/>
              </a:ext>
            </a:extLst>
          </p:cNvPr>
          <p:cNvSpPr/>
          <p:nvPr/>
        </p:nvSpPr>
        <p:spPr>
          <a:xfrm>
            <a:off x="359002" y="3679345"/>
            <a:ext cx="3600000" cy="576064"/>
          </a:xfrm>
          <a:prstGeom prst="homePlate">
            <a:avLst/>
          </a:prstGeom>
          <a:solidFill>
            <a:srgbClr val="D5FC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10318831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ecap (Testing methods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7131568-ABAE-A12B-2B5E-86865B76F791}"/>
              </a:ext>
            </a:extLst>
          </p:cNvPr>
          <p:cNvGrpSpPr/>
          <p:nvPr/>
        </p:nvGrpSpPr>
        <p:grpSpPr>
          <a:xfrm>
            <a:off x="4734124" y="657602"/>
            <a:ext cx="3888433" cy="2144065"/>
            <a:chOff x="467543" y="379784"/>
            <a:chExt cx="3888433" cy="2144065"/>
          </a:xfrm>
        </p:grpSpPr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FE811255-CA78-9D5B-3220-18CDE7504D3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19890519"/>
                </p:ext>
              </p:extLst>
            </p:nvPr>
          </p:nvGraphicFramePr>
          <p:xfrm>
            <a:off x="467543" y="699542"/>
            <a:ext cx="3888433" cy="18243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" name="Cloud 6">
              <a:extLst>
                <a:ext uri="{FF2B5EF4-FFF2-40B4-BE49-F238E27FC236}">
                  <a16:creationId xmlns:a16="http://schemas.microsoft.com/office/drawing/2014/main" id="{94773B81-1E36-9DAF-6232-E196540BCC75}"/>
                </a:ext>
              </a:extLst>
            </p:cNvPr>
            <p:cNvSpPr/>
            <p:nvPr/>
          </p:nvSpPr>
          <p:spPr>
            <a:xfrm>
              <a:off x="2007995" y="379784"/>
              <a:ext cx="807527" cy="504704"/>
            </a:xfrm>
            <a:prstGeom prst="cloud">
              <a:avLst/>
            </a:prstGeom>
            <a:solidFill>
              <a:srgbClr val="D6D6D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39A3F882-AFC5-0ACF-E9E5-2FC6C1E717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544" y="3135299"/>
            <a:ext cx="2083441" cy="1923678"/>
          </a:xfrm>
          <a:prstGeom prst="rect">
            <a:avLst/>
          </a:prstGeom>
        </p:spPr>
      </p:pic>
      <p:pic>
        <p:nvPicPr>
          <p:cNvPr id="11" name="Picture 2" descr="The Red Green Refactor of TDD - Hashnode">
            <a:extLst>
              <a:ext uri="{FF2B5EF4-FFF2-40B4-BE49-F238E27FC236}">
                <a16:creationId xmlns:a16="http://schemas.microsoft.com/office/drawing/2014/main" id="{EA1A9C73-CDFD-2C27-76FC-DF606D56D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3210469"/>
            <a:ext cx="2538389" cy="168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Placeholder 31">
            <a:extLst>
              <a:ext uri="{FF2B5EF4-FFF2-40B4-BE49-F238E27FC236}">
                <a16:creationId xmlns:a16="http://schemas.microsoft.com/office/drawing/2014/main" id="{186D3B25-C8F6-2386-1AC8-344E83B2AF11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3294885" y="3210469"/>
            <a:ext cx="2548286" cy="16856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graphicFrame>
        <p:nvGraphicFramePr>
          <p:cNvPr id="13" name="Table 3">
            <a:extLst>
              <a:ext uri="{FF2B5EF4-FFF2-40B4-BE49-F238E27FC236}">
                <a16:creationId xmlns:a16="http://schemas.microsoft.com/office/drawing/2014/main" id="{A7B8A546-8F8C-D60E-4F22-946F1D6C48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4571710"/>
              </p:ext>
            </p:extLst>
          </p:nvPr>
        </p:nvGraphicFramePr>
        <p:xfrm>
          <a:off x="827584" y="1170419"/>
          <a:ext cx="3215028" cy="147729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8921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1426294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399518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266393">
                <a:tc>
                  <a:txBody>
                    <a:bodyPr/>
                    <a:lstStyle/>
                    <a:p>
                      <a:r>
                        <a:rPr lang="en-NL" sz="500" dirty="0"/>
                        <a:t>Actions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sz="500" dirty="0"/>
                        <a:t>Expected result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sz="500"/>
                        <a:t>Is tested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the catalogue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aa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aaa bla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and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down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3562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do in Ideal?</a:t>
            </a:r>
          </a:p>
        </p:txBody>
      </p:sp>
      <p:sp>
        <p:nvSpPr>
          <p:cNvPr id="2" name="Pentagon 1">
            <a:extLst>
              <a:ext uri="{FF2B5EF4-FFF2-40B4-BE49-F238E27FC236}">
                <a16:creationId xmlns:a16="http://schemas.microsoft.com/office/drawing/2014/main" id="{4E8F969B-CDF7-B36F-E393-D74D335978B7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Unit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3114B0A9-B3DD-7160-4A95-ADD8E465BDE0}"/>
              </a:ext>
            </a:extLst>
          </p:cNvPr>
          <p:cNvSpPr/>
          <p:nvPr/>
        </p:nvSpPr>
        <p:spPr>
          <a:xfrm>
            <a:off x="359002" y="1519588"/>
            <a:ext cx="3600000" cy="576064"/>
          </a:xfrm>
          <a:prstGeom prst="homePlat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Functional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9F56D1C2-16A4-4912-A799-BB0FE733AD4C}"/>
              </a:ext>
            </a:extLst>
          </p:cNvPr>
          <p:cNvSpPr/>
          <p:nvPr/>
        </p:nvSpPr>
        <p:spPr>
          <a:xfrm>
            <a:off x="348860" y="2239507"/>
            <a:ext cx="3600000" cy="576064"/>
          </a:xfrm>
          <a:prstGeom prst="homePlate">
            <a:avLst/>
          </a:prstGeom>
          <a:solidFill>
            <a:srgbClr val="FFFD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E2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8EB5039F-349A-7A46-6DED-BC566250215C}"/>
              </a:ext>
            </a:extLst>
          </p:cNvPr>
          <p:cNvSpPr/>
          <p:nvPr/>
        </p:nvSpPr>
        <p:spPr>
          <a:xfrm>
            <a:off x="359002" y="4399264"/>
            <a:ext cx="3588299" cy="576064"/>
          </a:xfrm>
          <a:prstGeom prst="homePlate">
            <a:avLst/>
          </a:prstGeom>
          <a:solidFill>
            <a:srgbClr val="73FB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00F4089-D4C0-BC2E-EB1A-ADDEDB0BE53B}"/>
              </a:ext>
            </a:extLst>
          </p:cNvPr>
          <p:cNvSpPr/>
          <p:nvPr/>
        </p:nvSpPr>
        <p:spPr>
          <a:xfrm flipH="1">
            <a:off x="4572000" y="796910"/>
            <a:ext cx="3576602" cy="576064"/>
          </a:xfrm>
          <a:prstGeom prst="homePlat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utation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CFC6BDD-EAA1-45F5-923C-729E67FDBAD6}"/>
              </a:ext>
            </a:extLst>
          </p:cNvPr>
          <p:cNvSpPr/>
          <p:nvPr/>
        </p:nvSpPr>
        <p:spPr>
          <a:xfrm>
            <a:off x="359002" y="2959426"/>
            <a:ext cx="3588299" cy="576064"/>
          </a:xfrm>
          <a:prstGeom prst="homePlate">
            <a:avLst/>
          </a:prstGeom>
          <a:solidFill>
            <a:srgbClr val="76D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2CDCE1C2-8106-B00F-7A80-8269D405871F}"/>
              </a:ext>
            </a:extLst>
          </p:cNvPr>
          <p:cNvSpPr/>
          <p:nvPr/>
        </p:nvSpPr>
        <p:spPr>
          <a:xfrm flipH="1">
            <a:off x="4588654" y="1517519"/>
            <a:ext cx="3588299" cy="576064"/>
          </a:xfrm>
          <a:prstGeom prst="homePlate">
            <a:avLst/>
          </a:prstGeom>
          <a:solidFill>
            <a:srgbClr val="7A81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Memory leakage</a:t>
            </a:r>
          </a:p>
        </p:txBody>
      </p:sp>
      <p:sp>
        <p:nvSpPr>
          <p:cNvPr id="16" name="Pentagon 15">
            <a:extLst>
              <a:ext uri="{FF2B5EF4-FFF2-40B4-BE49-F238E27FC236}">
                <a16:creationId xmlns:a16="http://schemas.microsoft.com/office/drawing/2014/main" id="{5C3AB03E-F4D5-0F5A-393A-096A9BB05DC5}"/>
              </a:ext>
            </a:extLst>
          </p:cNvPr>
          <p:cNvSpPr/>
          <p:nvPr/>
        </p:nvSpPr>
        <p:spPr>
          <a:xfrm flipH="1">
            <a:off x="4600352" y="2238128"/>
            <a:ext cx="3588299" cy="576064"/>
          </a:xfrm>
          <a:prstGeom prst="homePlate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tx1"/>
                </a:solidFill>
              </a:rPr>
              <a:t>Snapshot</a:t>
            </a:r>
          </a:p>
        </p:txBody>
      </p:sp>
      <p:sp>
        <p:nvSpPr>
          <p:cNvPr id="17" name="Pentagon 16">
            <a:extLst>
              <a:ext uri="{FF2B5EF4-FFF2-40B4-BE49-F238E27FC236}">
                <a16:creationId xmlns:a16="http://schemas.microsoft.com/office/drawing/2014/main" id="{8466DCFC-94AE-552D-CEAB-8DAC97037498}"/>
              </a:ext>
            </a:extLst>
          </p:cNvPr>
          <p:cNvSpPr/>
          <p:nvPr/>
        </p:nvSpPr>
        <p:spPr>
          <a:xfrm flipH="1">
            <a:off x="4600352" y="2958737"/>
            <a:ext cx="3599999" cy="576064"/>
          </a:xfrm>
          <a:prstGeom prst="homePlate">
            <a:avLst/>
          </a:prstGeom>
          <a:solidFill>
            <a:srgbClr val="FF8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Security</a:t>
            </a: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98585D86-6260-B6F4-1B7A-4F3A2BFDBF69}"/>
              </a:ext>
            </a:extLst>
          </p:cNvPr>
          <p:cNvSpPr/>
          <p:nvPr/>
        </p:nvSpPr>
        <p:spPr>
          <a:xfrm flipH="1">
            <a:off x="4588654" y="3679345"/>
            <a:ext cx="3599998" cy="576064"/>
          </a:xfrm>
          <a:prstGeom prst="homePlate">
            <a:avLst/>
          </a:prstGeom>
          <a:solidFill>
            <a:srgbClr val="FF8A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Code quality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CEE1DC36-64D7-6E35-5400-CACE30932BF0}"/>
              </a:ext>
            </a:extLst>
          </p:cNvPr>
          <p:cNvSpPr/>
          <p:nvPr/>
        </p:nvSpPr>
        <p:spPr>
          <a:xfrm>
            <a:off x="359002" y="3679345"/>
            <a:ext cx="3600000" cy="576064"/>
          </a:xfrm>
          <a:prstGeom prst="homePlate">
            <a:avLst/>
          </a:prstGeom>
          <a:solidFill>
            <a:srgbClr val="D5FC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tx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665325057"/>
      </p:ext>
    </p:extLst>
  </p:cSld>
  <p:clrMapOvr>
    <a:masterClrMapping/>
  </p:clrMapOvr>
  <p:transition spd="slow">
    <p:push dir="u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do in Ideal?</a:t>
            </a:r>
          </a:p>
        </p:txBody>
      </p:sp>
      <p:sp>
        <p:nvSpPr>
          <p:cNvPr id="2" name="Pentagon 1">
            <a:extLst>
              <a:ext uri="{FF2B5EF4-FFF2-40B4-BE49-F238E27FC236}">
                <a16:creationId xmlns:a16="http://schemas.microsoft.com/office/drawing/2014/main" id="{4E8F969B-CDF7-B36F-E393-D74D335978B7}"/>
              </a:ext>
            </a:extLst>
          </p:cNvPr>
          <p:cNvSpPr/>
          <p:nvPr/>
        </p:nvSpPr>
        <p:spPr>
          <a:xfrm>
            <a:off x="359002" y="799669"/>
            <a:ext cx="3600000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Unit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3114B0A9-B3DD-7160-4A95-ADD8E465BDE0}"/>
              </a:ext>
            </a:extLst>
          </p:cNvPr>
          <p:cNvSpPr/>
          <p:nvPr/>
        </p:nvSpPr>
        <p:spPr>
          <a:xfrm>
            <a:off x="359002" y="1519588"/>
            <a:ext cx="3600000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Functional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9F56D1C2-16A4-4912-A799-BB0FE733AD4C}"/>
              </a:ext>
            </a:extLst>
          </p:cNvPr>
          <p:cNvSpPr/>
          <p:nvPr/>
        </p:nvSpPr>
        <p:spPr>
          <a:xfrm>
            <a:off x="348860" y="2239507"/>
            <a:ext cx="3600000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E2E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8EB5039F-349A-7A46-6DED-BC566250215C}"/>
              </a:ext>
            </a:extLst>
          </p:cNvPr>
          <p:cNvSpPr/>
          <p:nvPr/>
        </p:nvSpPr>
        <p:spPr>
          <a:xfrm>
            <a:off x="359002" y="4399264"/>
            <a:ext cx="3588299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Performance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000F4089-D4C0-BC2E-EB1A-ADDEDB0BE53B}"/>
              </a:ext>
            </a:extLst>
          </p:cNvPr>
          <p:cNvSpPr/>
          <p:nvPr/>
        </p:nvSpPr>
        <p:spPr>
          <a:xfrm flipH="1">
            <a:off x="4572000" y="796910"/>
            <a:ext cx="3576602" cy="576064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Mutation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ACFC6BDD-EAA1-45F5-923C-729E67FDBAD6}"/>
              </a:ext>
            </a:extLst>
          </p:cNvPr>
          <p:cNvSpPr/>
          <p:nvPr/>
        </p:nvSpPr>
        <p:spPr>
          <a:xfrm>
            <a:off x="359002" y="2959426"/>
            <a:ext cx="3588299" cy="576064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Contracts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2CDCE1C2-8106-B00F-7A80-8269D405871F}"/>
              </a:ext>
            </a:extLst>
          </p:cNvPr>
          <p:cNvSpPr/>
          <p:nvPr/>
        </p:nvSpPr>
        <p:spPr>
          <a:xfrm flipH="1">
            <a:off x="4588654" y="1517519"/>
            <a:ext cx="3588299" cy="576064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Memory leakage</a:t>
            </a:r>
          </a:p>
        </p:txBody>
      </p:sp>
      <p:sp>
        <p:nvSpPr>
          <p:cNvPr id="16" name="Pentagon 15">
            <a:extLst>
              <a:ext uri="{FF2B5EF4-FFF2-40B4-BE49-F238E27FC236}">
                <a16:creationId xmlns:a16="http://schemas.microsoft.com/office/drawing/2014/main" id="{5C3AB03E-F4D5-0F5A-393A-096A9BB05DC5}"/>
              </a:ext>
            </a:extLst>
          </p:cNvPr>
          <p:cNvSpPr/>
          <p:nvPr/>
        </p:nvSpPr>
        <p:spPr>
          <a:xfrm flipH="1">
            <a:off x="4600352" y="2238128"/>
            <a:ext cx="3588299" cy="576064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 dirty="0">
                <a:solidFill>
                  <a:schemeClr val="bg1"/>
                </a:solidFill>
              </a:rPr>
              <a:t>Snapshot</a:t>
            </a:r>
          </a:p>
        </p:txBody>
      </p:sp>
      <p:sp>
        <p:nvSpPr>
          <p:cNvPr id="17" name="Pentagon 16">
            <a:extLst>
              <a:ext uri="{FF2B5EF4-FFF2-40B4-BE49-F238E27FC236}">
                <a16:creationId xmlns:a16="http://schemas.microsoft.com/office/drawing/2014/main" id="{8466DCFC-94AE-552D-CEAB-8DAC97037498}"/>
              </a:ext>
            </a:extLst>
          </p:cNvPr>
          <p:cNvSpPr/>
          <p:nvPr/>
        </p:nvSpPr>
        <p:spPr>
          <a:xfrm flipH="1">
            <a:off x="4600352" y="2958737"/>
            <a:ext cx="3599999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Security</a:t>
            </a: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98585D86-6260-B6F4-1B7A-4F3A2BFDBF69}"/>
              </a:ext>
            </a:extLst>
          </p:cNvPr>
          <p:cNvSpPr/>
          <p:nvPr/>
        </p:nvSpPr>
        <p:spPr>
          <a:xfrm flipH="1">
            <a:off x="4588654" y="3679345"/>
            <a:ext cx="3599998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Code quality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CEE1DC36-64D7-6E35-5400-CACE30932BF0}"/>
              </a:ext>
            </a:extLst>
          </p:cNvPr>
          <p:cNvSpPr/>
          <p:nvPr/>
        </p:nvSpPr>
        <p:spPr>
          <a:xfrm>
            <a:off x="359002" y="3679345"/>
            <a:ext cx="3600000" cy="576064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NL">
                <a:solidFill>
                  <a:schemeClr val="bg1"/>
                </a:solidFill>
              </a:rPr>
              <a:t>Accessibility</a:t>
            </a:r>
          </a:p>
        </p:txBody>
      </p:sp>
    </p:spTree>
    <p:extLst>
      <p:ext uri="{BB962C8B-B14F-4D97-AF65-F5344CB8AC3E}">
        <p14:creationId xmlns:p14="http://schemas.microsoft.com/office/powerpoint/2010/main" val="9331443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Use in Ideal?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E3203FD3-8BB9-A4F4-1D39-5903954937F2}"/>
              </a:ext>
            </a:extLst>
          </p:cNvPr>
          <p:cNvGrpSpPr/>
          <p:nvPr/>
        </p:nvGrpSpPr>
        <p:grpSpPr>
          <a:xfrm>
            <a:off x="251520" y="843558"/>
            <a:ext cx="3744416" cy="1899021"/>
            <a:chOff x="251520" y="843558"/>
            <a:chExt cx="3744416" cy="189902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D371EBB-7664-FF1D-9529-0CE856FE5F7F}"/>
                </a:ext>
              </a:extLst>
            </p:cNvPr>
            <p:cNvSpPr txBox="1"/>
            <p:nvPr/>
          </p:nvSpPr>
          <p:spPr>
            <a:xfrm>
              <a:off x="251520" y="843558"/>
              <a:ext cx="6415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Uni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98DEE05-5E0D-E1CF-91D5-5457030636E1}"/>
                </a:ext>
              </a:extLst>
            </p:cNvPr>
            <p:cNvSpPr/>
            <p:nvPr/>
          </p:nvSpPr>
          <p:spPr>
            <a:xfrm>
              <a:off x="348860" y="1243668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9CDD691-EDA6-C8F5-1063-230DF0333258}"/>
                </a:ext>
              </a:extLst>
            </p:cNvPr>
            <p:cNvGrpSpPr/>
            <p:nvPr/>
          </p:nvGrpSpPr>
          <p:grpSpPr>
            <a:xfrm>
              <a:off x="348860" y="1419127"/>
              <a:ext cx="3600000" cy="576064"/>
              <a:chOff x="368456" y="1585512"/>
              <a:chExt cx="3600000" cy="576064"/>
            </a:xfrm>
          </p:grpSpPr>
          <p:sp>
            <p:nvSpPr>
              <p:cNvPr id="23" name="Pentagon 22">
                <a:extLst>
                  <a:ext uri="{FF2B5EF4-FFF2-40B4-BE49-F238E27FC236}">
                    <a16:creationId xmlns:a16="http://schemas.microsoft.com/office/drawing/2014/main" id="{6BCF3A56-F3E3-1774-9DE1-53FEB113FD7B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Vue testing utils</a:t>
                </a:r>
              </a:p>
            </p:txBody>
          </p:sp>
          <p:pic>
            <p:nvPicPr>
              <p:cNvPr id="25" name="Picture 28" descr="Vue Test Utils | Vue Test Utils for Vue.js 3">
                <a:extLst>
                  <a:ext uri="{FF2B5EF4-FFF2-40B4-BE49-F238E27FC236}">
                    <a16:creationId xmlns:a16="http://schemas.microsoft.com/office/drawing/2014/main" id="{9696FCB3-67B4-5101-AB03-048A10691E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06876" y="1700744"/>
                <a:ext cx="416141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880B11C-4AF7-C308-8084-99E18051C4EF}"/>
                </a:ext>
              </a:extLst>
            </p:cNvPr>
            <p:cNvGrpSpPr/>
            <p:nvPr/>
          </p:nvGrpSpPr>
          <p:grpSpPr>
            <a:xfrm>
              <a:off x="348860" y="2166515"/>
              <a:ext cx="3600000" cy="576064"/>
              <a:chOff x="368456" y="1585512"/>
              <a:chExt cx="3600000" cy="576064"/>
            </a:xfrm>
          </p:grpSpPr>
          <p:sp>
            <p:nvSpPr>
              <p:cNvPr id="29" name="Pentagon 28">
                <a:extLst>
                  <a:ext uri="{FF2B5EF4-FFF2-40B4-BE49-F238E27FC236}">
                    <a16:creationId xmlns:a16="http://schemas.microsoft.com/office/drawing/2014/main" id="{EDFDEAF3-BBB0-F562-7A9E-AAAB360716EC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Jest</a:t>
                </a:r>
              </a:p>
            </p:txBody>
          </p:sp>
          <p:pic>
            <p:nvPicPr>
              <p:cNvPr id="30" name="Picture 28">
                <a:extLst>
                  <a:ext uri="{FF2B5EF4-FFF2-40B4-BE49-F238E27FC236}">
                    <a16:creationId xmlns:a16="http://schemas.microsoft.com/office/drawing/2014/main" id="{A0D7E877-A542-ADB3-D65D-6446C05B06E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334503" y="1700744"/>
                <a:ext cx="360886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13D5090-3043-D0D3-3BC8-BDB18E70F0FC}"/>
              </a:ext>
            </a:extLst>
          </p:cNvPr>
          <p:cNvGrpSpPr/>
          <p:nvPr/>
        </p:nvGrpSpPr>
        <p:grpSpPr>
          <a:xfrm>
            <a:off x="251520" y="2978770"/>
            <a:ext cx="3744416" cy="1918867"/>
            <a:chOff x="251520" y="2978770"/>
            <a:chExt cx="3744416" cy="1918867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72AB19B-5CD3-A714-1D29-CB286DEB172B}"/>
                </a:ext>
              </a:extLst>
            </p:cNvPr>
            <p:cNvSpPr txBox="1"/>
            <p:nvPr/>
          </p:nvSpPr>
          <p:spPr>
            <a:xfrm>
              <a:off x="251520" y="2978770"/>
              <a:ext cx="206659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Functional / E2E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C71696D-F6AA-CDB1-36D4-FCA1BD24CD77}"/>
                </a:ext>
              </a:extLst>
            </p:cNvPr>
            <p:cNvSpPr/>
            <p:nvPr/>
          </p:nvSpPr>
          <p:spPr>
            <a:xfrm>
              <a:off x="348860" y="3378880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22DEC28-8AF3-710A-3495-F46CCC1F0360}"/>
                </a:ext>
              </a:extLst>
            </p:cNvPr>
            <p:cNvGrpSpPr/>
            <p:nvPr/>
          </p:nvGrpSpPr>
          <p:grpSpPr>
            <a:xfrm>
              <a:off x="348860" y="3573381"/>
              <a:ext cx="3600000" cy="576064"/>
              <a:chOff x="368456" y="1585512"/>
              <a:chExt cx="3600000" cy="576064"/>
            </a:xfrm>
          </p:grpSpPr>
          <p:sp>
            <p:nvSpPr>
              <p:cNvPr id="36" name="Pentagon 35">
                <a:extLst>
                  <a:ext uri="{FF2B5EF4-FFF2-40B4-BE49-F238E27FC236}">
                    <a16:creationId xmlns:a16="http://schemas.microsoft.com/office/drawing/2014/main" id="{8277340A-5BED-3F4B-6774-40DB390AC180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Testcafe</a:t>
                </a:r>
              </a:p>
            </p:txBody>
          </p:sp>
          <p:pic>
            <p:nvPicPr>
              <p:cNvPr id="37" name="Picture 28">
                <a:extLst>
                  <a:ext uri="{FF2B5EF4-FFF2-40B4-BE49-F238E27FC236}">
                    <a16:creationId xmlns:a16="http://schemas.microsoft.com/office/drawing/2014/main" id="{82065345-79E3-9A9E-4C40-9C655CCE9A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339130" y="1700744"/>
                <a:ext cx="351632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7AF9B91-D657-965E-9C3C-7FCAECA1D6A5}"/>
                </a:ext>
              </a:extLst>
            </p:cNvPr>
            <p:cNvGrpSpPr/>
            <p:nvPr/>
          </p:nvGrpSpPr>
          <p:grpSpPr>
            <a:xfrm>
              <a:off x="348860" y="4321573"/>
              <a:ext cx="3600000" cy="576064"/>
              <a:chOff x="368456" y="1585512"/>
              <a:chExt cx="3600000" cy="576064"/>
            </a:xfrm>
          </p:grpSpPr>
          <p:sp>
            <p:nvSpPr>
              <p:cNvPr id="39" name="Pentagon 38">
                <a:extLst>
                  <a:ext uri="{FF2B5EF4-FFF2-40B4-BE49-F238E27FC236}">
                    <a16:creationId xmlns:a16="http://schemas.microsoft.com/office/drawing/2014/main" id="{F5A10169-31D6-DCCD-1E56-21CFE2159AFE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SauceLabs</a:t>
                </a:r>
              </a:p>
            </p:txBody>
          </p:sp>
          <p:pic>
            <p:nvPicPr>
              <p:cNvPr id="40" name="Picture 28">
                <a:extLst>
                  <a:ext uri="{FF2B5EF4-FFF2-40B4-BE49-F238E27FC236}">
                    <a16:creationId xmlns:a16="http://schemas.microsoft.com/office/drawing/2014/main" id="{6A861775-7101-51ED-4289-E3977CAF60B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339971" y="1700744"/>
                <a:ext cx="349950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B4718E2-C780-EA52-7C28-DC96DDB12A3E}"/>
              </a:ext>
            </a:extLst>
          </p:cNvPr>
          <p:cNvGrpSpPr/>
          <p:nvPr/>
        </p:nvGrpSpPr>
        <p:grpSpPr>
          <a:xfrm>
            <a:off x="4989940" y="843558"/>
            <a:ext cx="3744416" cy="1899021"/>
            <a:chOff x="4989940" y="843558"/>
            <a:chExt cx="3744416" cy="1899021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55C7868-4792-1E0B-D4A5-3869AAF2350D}"/>
                </a:ext>
              </a:extLst>
            </p:cNvPr>
            <p:cNvSpPr txBox="1"/>
            <p:nvPr/>
          </p:nvSpPr>
          <p:spPr>
            <a:xfrm>
              <a:off x="4989940" y="843558"/>
              <a:ext cx="15840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Accessibility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EFC494E-2FE5-EAF9-77F3-C58D05452C83}"/>
                </a:ext>
              </a:extLst>
            </p:cNvPr>
            <p:cNvSpPr/>
            <p:nvPr/>
          </p:nvSpPr>
          <p:spPr>
            <a:xfrm>
              <a:off x="5087280" y="1243668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63C88EA-41AD-968D-465B-BD479A8956B2}"/>
                </a:ext>
              </a:extLst>
            </p:cNvPr>
            <p:cNvGrpSpPr/>
            <p:nvPr/>
          </p:nvGrpSpPr>
          <p:grpSpPr>
            <a:xfrm>
              <a:off x="5087280" y="1419127"/>
              <a:ext cx="3600000" cy="576064"/>
              <a:chOff x="368456" y="1585512"/>
              <a:chExt cx="3600000" cy="576064"/>
            </a:xfrm>
          </p:grpSpPr>
          <p:sp>
            <p:nvSpPr>
              <p:cNvPr id="44" name="Pentagon 43">
                <a:extLst>
                  <a:ext uri="{FF2B5EF4-FFF2-40B4-BE49-F238E27FC236}">
                    <a16:creationId xmlns:a16="http://schemas.microsoft.com/office/drawing/2014/main" id="{1D739FA2-1F27-8C89-02C1-C060ED66DDC4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Axe deque</a:t>
                </a:r>
              </a:p>
            </p:txBody>
          </p:sp>
          <p:pic>
            <p:nvPicPr>
              <p:cNvPr id="45" name="Picture 28" descr="Vue Test Utils | Vue Test Utils for Vue.js 3">
                <a:extLst>
                  <a:ext uri="{FF2B5EF4-FFF2-40B4-BE49-F238E27FC236}">
                    <a16:creationId xmlns:a16="http://schemas.microsoft.com/office/drawing/2014/main" id="{6A808CDE-F4C0-4E21-2EA3-FE78834D7F3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06876" y="1700744"/>
                <a:ext cx="416141" cy="360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1DE5856-E5CB-2B97-12A7-CBA5DB4AF8A0}"/>
                </a:ext>
              </a:extLst>
            </p:cNvPr>
            <p:cNvGrpSpPr/>
            <p:nvPr/>
          </p:nvGrpSpPr>
          <p:grpSpPr>
            <a:xfrm>
              <a:off x="5087280" y="2166515"/>
              <a:ext cx="3600000" cy="576064"/>
              <a:chOff x="368456" y="1585512"/>
              <a:chExt cx="3600000" cy="576064"/>
            </a:xfrm>
          </p:grpSpPr>
          <p:sp>
            <p:nvSpPr>
              <p:cNvPr id="47" name="Pentagon 46">
                <a:extLst>
                  <a:ext uri="{FF2B5EF4-FFF2-40B4-BE49-F238E27FC236}">
                    <a16:creationId xmlns:a16="http://schemas.microsoft.com/office/drawing/2014/main" id="{503531BE-21F1-4731-AD68-677462ADE224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Google lighthouse</a:t>
                </a:r>
              </a:p>
            </p:txBody>
          </p:sp>
          <p:pic>
            <p:nvPicPr>
              <p:cNvPr id="48" name="Picture 28">
                <a:extLst>
                  <a:ext uri="{FF2B5EF4-FFF2-40B4-BE49-F238E27FC236}">
                    <a16:creationId xmlns:a16="http://schemas.microsoft.com/office/drawing/2014/main" id="{3710D3EF-6E94-C22B-563C-2645A973CD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029213" y="1670921"/>
                <a:ext cx="712395" cy="3777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1BFF1EB-FFF1-EB9A-CF7D-F43E67C2AD78}"/>
              </a:ext>
            </a:extLst>
          </p:cNvPr>
          <p:cNvGrpSpPr/>
          <p:nvPr/>
        </p:nvGrpSpPr>
        <p:grpSpPr>
          <a:xfrm>
            <a:off x="4965780" y="2976985"/>
            <a:ext cx="3744416" cy="1172460"/>
            <a:chOff x="4965780" y="2976985"/>
            <a:chExt cx="3744416" cy="1172460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7DA6FDE-D21E-090E-2EDF-E0771AF9BB37}"/>
                </a:ext>
              </a:extLst>
            </p:cNvPr>
            <p:cNvSpPr txBox="1"/>
            <p:nvPr/>
          </p:nvSpPr>
          <p:spPr>
            <a:xfrm>
              <a:off x="4965780" y="2976985"/>
              <a:ext cx="165141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Performance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C44068F-6BE2-A5D4-A826-96BABC5A358B}"/>
                </a:ext>
              </a:extLst>
            </p:cNvPr>
            <p:cNvSpPr/>
            <p:nvPr/>
          </p:nvSpPr>
          <p:spPr>
            <a:xfrm>
              <a:off x="5063120" y="3377095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FB42C06-237B-C68F-B394-21282DE2E921}"/>
                </a:ext>
              </a:extLst>
            </p:cNvPr>
            <p:cNvGrpSpPr/>
            <p:nvPr/>
          </p:nvGrpSpPr>
          <p:grpSpPr>
            <a:xfrm>
              <a:off x="5063120" y="3573381"/>
              <a:ext cx="3600000" cy="576064"/>
              <a:chOff x="368456" y="1585512"/>
              <a:chExt cx="3600000" cy="576064"/>
            </a:xfrm>
          </p:grpSpPr>
          <p:sp>
            <p:nvSpPr>
              <p:cNvPr id="55" name="Pentagon 54">
                <a:extLst>
                  <a:ext uri="{FF2B5EF4-FFF2-40B4-BE49-F238E27FC236}">
                    <a16:creationId xmlns:a16="http://schemas.microsoft.com/office/drawing/2014/main" id="{FFA21D35-CBE2-AEA6-88AA-7542FF097F92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Google lighthouse</a:t>
                </a:r>
              </a:p>
            </p:txBody>
          </p:sp>
          <p:pic>
            <p:nvPicPr>
              <p:cNvPr id="56" name="Picture 28">
                <a:extLst>
                  <a:ext uri="{FF2B5EF4-FFF2-40B4-BE49-F238E27FC236}">
                    <a16:creationId xmlns:a16="http://schemas.microsoft.com/office/drawing/2014/main" id="{51EAA9DF-402C-985E-CD2A-9DA7B7ED1F5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082766" y="1697609"/>
                <a:ext cx="683002" cy="3621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5578002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Use in Ideal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13D5090-3043-D0D3-3BC8-BDB18E70F0FC}"/>
              </a:ext>
            </a:extLst>
          </p:cNvPr>
          <p:cNvGrpSpPr/>
          <p:nvPr/>
        </p:nvGrpSpPr>
        <p:grpSpPr>
          <a:xfrm>
            <a:off x="251520" y="2978770"/>
            <a:ext cx="3744416" cy="1918867"/>
            <a:chOff x="251520" y="2978770"/>
            <a:chExt cx="3744416" cy="1918867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72AB19B-5CD3-A714-1D29-CB286DEB172B}"/>
                </a:ext>
              </a:extLst>
            </p:cNvPr>
            <p:cNvSpPr txBox="1"/>
            <p:nvPr/>
          </p:nvSpPr>
          <p:spPr>
            <a:xfrm>
              <a:off x="251520" y="2978770"/>
              <a:ext cx="16113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dirty="0">
                  <a:solidFill>
                    <a:schemeClr val="bg2"/>
                  </a:solidFill>
                </a:rPr>
                <a:t>Code quality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C71696D-F6AA-CDB1-36D4-FCA1BD24CD77}"/>
                </a:ext>
              </a:extLst>
            </p:cNvPr>
            <p:cNvSpPr/>
            <p:nvPr/>
          </p:nvSpPr>
          <p:spPr>
            <a:xfrm>
              <a:off x="348860" y="3378880"/>
              <a:ext cx="3647076" cy="5696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22DEC28-8AF3-710A-3495-F46CCC1F0360}"/>
                </a:ext>
              </a:extLst>
            </p:cNvPr>
            <p:cNvGrpSpPr/>
            <p:nvPr/>
          </p:nvGrpSpPr>
          <p:grpSpPr>
            <a:xfrm>
              <a:off x="348860" y="3573381"/>
              <a:ext cx="3600000" cy="576064"/>
              <a:chOff x="368456" y="1585512"/>
              <a:chExt cx="3600000" cy="576064"/>
            </a:xfrm>
          </p:grpSpPr>
          <p:sp>
            <p:nvSpPr>
              <p:cNvPr id="36" name="Pentagon 35">
                <a:extLst>
                  <a:ext uri="{FF2B5EF4-FFF2-40B4-BE49-F238E27FC236}">
                    <a16:creationId xmlns:a16="http://schemas.microsoft.com/office/drawing/2014/main" id="{8277340A-5BED-3F4B-6774-40DB390AC180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Eslint</a:t>
                </a:r>
              </a:p>
            </p:txBody>
          </p:sp>
          <p:pic>
            <p:nvPicPr>
              <p:cNvPr id="37" name="Picture 28">
                <a:extLst>
                  <a:ext uri="{FF2B5EF4-FFF2-40B4-BE49-F238E27FC236}">
                    <a16:creationId xmlns:a16="http://schemas.microsoft.com/office/drawing/2014/main" id="{82065345-79E3-9A9E-4C40-9C655CCE9A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339130" y="1725815"/>
                <a:ext cx="351632" cy="3107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7AF9B91-D657-965E-9C3C-7FCAECA1D6A5}"/>
                </a:ext>
              </a:extLst>
            </p:cNvPr>
            <p:cNvGrpSpPr/>
            <p:nvPr/>
          </p:nvGrpSpPr>
          <p:grpSpPr>
            <a:xfrm>
              <a:off x="348860" y="4321573"/>
              <a:ext cx="3600000" cy="576064"/>
              <a:chOff x="368456" y="1585512"/>
              <a:chExt cx="3600000" cy="576064"/>
            </a:xfrm>
          </p:grpSpPr>
          <p:sp>
            <p:nvSpPr>
              <p:cNvPr id="39" name="Pentagon 38">
                <a:extLst>
                  <a:ext uri="{FF2B5EF4-FFF2-40B4-BE49-F238E27FC236}">
                    <a16:creationId xmlns:a16="http://schemas.microsoft.com/office/drawing/2014/main" id="{F5A10169-31D6-DCCD-1E56-21CFE2159AFE}"/>
                  </a:ext>
                </a:extLst>
              </p:cNvPr>
              <p:cNvSpPr/>
              <p:nvPr/>
            </p:nvSpPr>
            <p:spPr>
              <a:xfrm>
                <a:off x="368456" y="1585512"/>
                <a:ext cx="3600000" cy="576064"/>
              </a:xfrm>
              <a:prstGeom prst="homeP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rtlCol="0" anchor="ctr"/>
              <a:lstStyle/>
              <a:p>
                <a:r>
                  <a:rPr lang="en-NL" dirty="0">
                    <a:solidFill>
                      <a:sysClr val="windowText" lastClr="000000"/>
                    </a:solidFill>
                  </a:rPr>
                  <a:t>SonarQube</a:t>
                </a:r>
              </a:p>
            </p:txBody>
          </p:sp>
          <p:pic>
            <p:nvPicPr>
              <p:cNvPr id="40" name="Picture 28">
                <a:extLst>
                  <a:ext uri="{FF2B5EF4-FFF2-40B4-BE49-F238E27FC236}">
                    <a16:creationId xmlns:a16="http://schemas.microsoft.com/office/drawing/2014/main" id="{6A861775-7101-51ED-4289-E3977CAF60B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 bwMode="auto">
              <a:xfrm>
                <a:off x="3339971" y="1709229"/>
                <a:ext cx="349950" cy="3439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551DC97-C7CA-FEF6-7E9B-55434C782A53}"/>
              </a:ext>
            </a:extLst>
          </p:cNvPr>
          <p:cNvGrpSpPr/>
          <p:nvPr/>
        </p:nvGrpSpPr>
        <p:grpSpPr>
          <a:xfrm>
            <a:off x="251520" y="843558"/>
            <a:ext cx="3744416" cy="1901265"/>
            <a:chOff x="251520" y="843558"/>
            <a:chExt cx="3744416" cy="190126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E3203FD3-8BB9-A4F4-1D39-5903954937F2}"/>
                </a:ext>
              </a:extLst>
            </p:cNvPr>
            <p:cNvGrpSpPr/>
            <p:nvPr/>
          </p:nvGrpSpPr>
          <p:grpSpPr>
            <a:xfrm>
              <a:off x="251520" y="843558"/>
              <a:ext cx="3744416" cy="457076"/>
              <a:chOff x="251520" y="843558"/>
              <a:chExt cx="3744416" cy="457076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371EBB-7664-FF1D-9529-0CE856FE5F7F}"/>
                  </a:ext>
                </a:extLst>
              </p:cNvPr>
              <p:cNvSpPr txBox="1"/>
              <p:nvPr/>
            </p:nvSpPr>
            <p:spPr>
              <a:xfrm>
                <a:off x="251520" y="843558"/>
                <a:ext cx="111120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NL" sz="2000" dirty="0">
                    <a:solidFill>
                      <a:schemeClr val="bg2"/>
                    </a:solidFill>
                  </a:rPr>
                  <a:t>Security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598DEE05-5E0D-E1CF-91D5-5457030636E1}"/>
                  </a:ext>
                </a:extLst>
              </p:cNvPr>
              <p:cNvSpPr/>
              <p:nvPr/>
            </p:nvSpPr>
            <p:spPr>
              <a:xfrm>
                <a:off x="348860" y="1243668"/>
                <a:ext cx="3647076" cy="56966"/>
              </a:xfrm>
              <a:prstGeom prst="rect">
                <a:avLst/>
              </a:prstGeom>
              <a:solidFill>
                <a:schemeClr val="bg2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</p:grpSp>
        <p:pic>
          <p:nvPicPr>
            <p:cNvPr id="6" name="Picture 5" descr="Green question mark">
              <a:extLst>
                <a:ext uri="{FF2B5EF4-FFF2-40B4-BE49-F238E27FC236}">
                  <a16:creationId xmlns:a16="http://schemas.microsoft.com/office/drawing/2014/main" id="{D53F0A8F-4FC0-42F2-5157-B21E1BD61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860" y="1457456"/>
              <a:ext cx="2206916" cy="12873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99818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AFECAC-E406-FE83-C429-3462E0E52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 dirty="0"/>
              <a:t>Unit, functional, e2e, contracts tests</a:t>
            </a:r>
          </a:p>
        </p:txBody>
      </p:sp>
    </p:spTree>
    <p:extLst>
      <p:ext uri="{BB962C8B-B14F-4D97-AF65-F5344CB8AC3E}">
        <p14:creationId xmlns:p14="http://schemas.microsoft.com/office/powerpoint/2010/main" val="3379690736"/>
      </p:ext>
    </p:extLst>
  </p:cSld>
  <p:clrMapOvr>
    <a:masterClrMapping/>
  </p:clrMapOvr>
  <p:transition spd="slow">
    <p:push dir="u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use in </a:t>
            </a:r>
            <a:r>
              <a:rPr lang="en-US" dirty="0" err="1"/>
              <a:t>iDeal</a:t>
            </a:r>
            <a:r>
              <a:rPr lang="en-US" dirty="0"/>
              <a:t>?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7131568-ABAE-A12B-2B5E-86865B76F791}"/>
              </a:ext>
            </a:extLst>
          </p:cNvPr>
          <p:cNvGrpSpPr/>
          <p:nvPr/>
        </p:nvGrpSpPr>
        <p:grpSpPr>
          <a:xfrm>
            <a:off x="4734124" y="657602"/>
            <a:ext cx="3888433" cy="2144065"/>
            <a:chOff x="467543" y="379784"/>
            <a:chExt cx="3888433" cy="2144065"/>
          </a:xfrm>
        </p:grpSpPr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FE811255-CA78-9D5B-3220-18CDE7504D35}"/>
                </a:ext>
              </a:extLst>
            </p:cNvPr>
            <p:cNvGraphicFramePr/>
            <p:nvPr/>
          </p:nvGraphicFramePr>
          <p:xfrm>
            <a:off x="467543" y="699542"/>
            <a:ext cx="3888433" cy="18243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" name="Cloud 6">
              <a:extLst>
                <a:ext uri="{FF2B5EF4-FFF2-40B4-BE49-F238E27FC236}">
                  <a16:creationId xmlns:a16="http://schemas.microsoft.com/office/drawing/2014/main" id="{94773B81-1E36-9DAF-6232-E196540BCC75}"/>
                </a:ext>
              </a:extLst>
            </p:cNvPr>
            <p:cNvSpPr/>
            <p:nvPr/>
          </p:nvSpPr>
          <p:spPr>
            <a:xfrm>
              <a:off x="2007995" y="379784"/>
              <a:ext cx="807527" cy="504704"/>
            </a:xfrm>
            <a:prstGeom prst="cloud">
              <a:avLst/>
            </a:prstGeom>
            <a:solidFill>
              <a:srgbClr val="D6D6D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39A3F882-AFC5-0ACF-E9E5-2FC6C1E717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544" y="3135299"/>
            <a:ext cx="2083441" cy="1923678"/>
          </a:xfrm>
          <a:prstGeom prst="rect">
            <a:avLst/>
          </a:prstGeom>
        </p:spPr>
      </p:pic>
      <p:pic>
        <p:nvPicPr>
          <p:cNvPr id="11" name="Picture 2" descr="The Red Green Refactor of TDD - Hashnode">
            <a:extLst>
              <a:ext uri="{FF2B5EF4-FFF2-40B4-BE49-F238E27FC236}">
                <a16:creationId xmlns:a16="http://schemas.microsoft.com/office/drawing/2014/main" id="{EA1A9C73-CDFD-2C27-76FC-DF606D56D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3210469"/>
            <a:ext cx="2538389" cy="168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Placeholder 31">
            <a:extLst>
              <a:ext uri="{FF2B5EF4-FFF2-40B4-BE49-F238E27FC236}">
                <a16:creationId xmlns:a16="http://schemas.microsoft.com/office/drawing/2014/main" id="{186D3B25-C8F6-2386-1AC8-344E83B2AF11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-370"/>
          <a:stretch/>
        </p:blipFill>
        <p:spPr>
          <a:xfrm>
            <a:off x="3294885" y="3210469"/>
            <a:ext cx="2548286" cy="16856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graphicFrame>
        <p:nvGraphicFramePr>
          <p:cNvPr id="13" name="Table 3">
            <a:extLst>
              <a:ext uri="{FF2B5EF4-FFF2-40B4-BE49-F238E27FC236}">
                <a16:creationId xmlns:a16="http://schemas.microsoft.com/office/drawing/2014/main" id="{A7B8A546-8F8C-D60E-4F22-946F1D6C48CA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1170419"/>
          <a:ext cx="3215028" cy="147729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89216">
                  <a:extLst>
                    <a:ext uri="{9D8B030D-6E8A-4147-A177-3AD203B41FA5}">
                      <a16:colId xmlns:a16="http://schemas.microsoft.com/office/drawing/2014/main" val="1965030983"/>
                    </a:ext>
                  </a:extLst>
                </a:gridCol>
                <a:gridCol w="1426294">
                  <a:extLst>
                    <a:ext uri="{9D8B030D-6E8A-4147-A177-3AD203B41FA5}">
                      <a16:colId xmlns:a16="http://schemas.microsoft.com/office/drawing/2014/main" val="2920070249"/>
                    </a:ext>
                  </a:extLst>
                </a:gridCol>
                <a:gridCol w="399518">
                  <a:extLst>
                    <a:ext uri="{9D8B030D-6E8A-4147-A177-3AD203B41FA5}">
                      <a16:colId xmlns:a16="http://schemas.microsoft.com/office/drawing/2014/main" val="1545983017"/>
                    </a:ext>
                  </a:extLst>
                </a:gridCol>
              </a:tblGrid>
              <a:tr h="266393">
                <a:tc>
                  <a:txBody>
                    <a:bodyPr/>
                    <a:lstStyle/>
                    <a:p>
                      <a:r>
                        <a:rPr lang="en-NL" sz="500" dirty="0"/>
                        <a:t>Actions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sz="500" dirty="0"/>
                        <a:t>Expected result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NL" sz="500"/>
                        <a:t>Is tested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761278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opens the catalogue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 of products is shown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12475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919097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aa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aaa bla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940046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bla and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89004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i="0" u="none" strike="noStrike" kern="1200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bla bla bla bla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e is down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sz="600" b="1" dirty="0">
                          <a:solidFill>
                            <a:schemeClr val="bg2"/>
                          </a:solidFill>
                        </a:rPr>
                        <a:t>NO</a:t>
                      </a:r>
                    </a:p>
                  </a:txBody>
                  <a:tcPr marL="34830" marR="34830" marT="17416" marB="174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462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9019107"/>
      </p:ext>
    </p:extLst>
  </p:cSld>
  <p:clrMapOvr>
    <a:masterClrMapping/>
  </p:clrMapOvr>
  <p:transition spd="slow">
    <p:push dir="u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Yellow and blue symbols">
            <a:extLst>
              <a:ext uri="{FF2B5EF4-FFF2-40B4-BE49-F238E27FC236}">
                <a16:creationId xmlns:a16="http://schemas.microsoft.com/office/drawing/2014/main" id="{D9B3ADC5-BD3A-D3DC-1B42-5E3EABA748A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7" r="15987"/>
          <a:stretch>
            <a:fillRect/>
          </a:stretch>
        </p:blipFill>
        <p:spPr/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6A889C-9ED2-603F-DF41-D1EA60B05E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Q&amp;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AFE4A3-7D18-8405-242E-8C67D33F0BFF}"/>
              </a:ext>
            </a:extLst>
          </p:cNvPr>
          <p:cNvSpPr txBox="1"/>
          <p:nvPr/>
        </p:nvSpPr>
        <p:spPr>
          <a:xfrm>
            <a:off x="4922514" y="807800"/>
            <a:ext cx="3609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600"/>
              <a:t>My LinkedIn </a:t>
            </a:r>
            <a:r>
              <a:rPr lang="en-GB" sz="1600" b="0" i="0" dirty="0">
                <a:solidFill>
                  <a:srgbClr val="0078D7"/>
                </a:solidFill>
                <a:effectLst/>
                <a:latin typeface="Calibri" panose="020F0502020204030204" pitchFamily="34" charset="0"/>
                <a:hlinkClick r:id="rId3" tooltip="Original URL:&#10;https://www.linkedin.com/in/illia-lebid&#10;&#10;Click to follow link."/>
              </a:rPr>
              <a:t>https://www.linkedin.com/in/illia-lebid</a:t>
            </a:r>
            <a:endParaRPr lang="en-NL" sz="160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C234C3B-5E53-12F2-4F73-F6BD770E68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6530" y="1471976"/>
            <a:ext cx="3321894" cy="3321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094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sz="2300" dirty="0"/>
              <a:t>Unit</a:t>
            </a:r>
            <a:r>
              <a:rPr lang="en-NL" dirty="0"/>
              <a:t>, </a:t>
            </a:r>
            <a:r>
              <a:rPr lang="en-NL" b="0" dirty="0"/>
              <a:t>functional, e2e, contracts tes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A5DBA2-C0D1-E027-D0F9-88F7644169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1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</a:t>
            </a:r>
            <a:r>
              <a:rPr lang="en-NL" sz="2400" dirty="0"/>
              <a:t>functional</a:t>
            </a:r>
            <a:r>
              <a:rPr lang="en-NL" b="0" dirty="0"/>
              <a:t>, e2e, contracts te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CEB60C-6897-C65E-54E2-3A2E6AA10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5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functional, </a:t>
            </a:r>
            <a:r>
              <a:rPr lang="en-NL" sz="2400" dirty="0"/>
              <a:t>e2e</a:t>
            </a:r>
            <a:r>
              <a:rPr lang="en-NL" b="0" dirty="0"/>
              <a:t>, contracts tes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5A3409-BA3E-4F99-99B8-CA46572453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87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5E5E6-2283-40F1-DE87-65F6AC340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L" b="0" dirty="0"/>
              <a:t>Unit, functional, e2e, </a:t>
            </a:r>
            <a:r>
              <a:rPr lang="en-NL" sz="2400" dirty="0"/>
              <a:t>contracts </a:t>
            </a:r>
            <a:r>
              <a:rPr lang="en-NL" b="0" dirty="0"/>
              <a:t>tes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C87755-38B1-9BE0-D630-20F0E53C3C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28" y="1275606"/>
            <a:ext cx="7772400" cy="304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88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23zVD2c0.5ArztPZ1x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0V7tEoZke4k1_faZ6v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wrtB1ghUWQI7j7Yv7O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mLmtELKk.dE1NNAEUH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j4BT5Q2ECGLOqDhkAQ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oSQdchB0.M5BurtGzk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sj.2eX0SWRKM7hLE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PpYcjxNUWMtZhOAP.B.w"/>
</p:tagLst>
</file>

<file path=ppt/theme/theme1.xml><?xml version="1.0" encoding="utf-8"?>
<a:theme xmlns:a="http://schemas.openxmlformats.org/drawingml/2006/main" name="Extern 16x9 EN">
  <a:themeElements>
    <a:clrScheme name="ABN AMRO Ex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54646C"/>
      </a:accent2>
      <a:accent3>
        <a:srgbClr val="00646C"/>
      </a:accent3>
      <a:accent4>
        <a:srgbClr val="94C23C"/>
      </a:accent4>
      <a:accent5>
        <a:srgbClr val="BBBEC3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xtern 16x9 EN.potx" id="{732F7AAE-5A20-4D40-A005-8ACF015CAE8C}" vid="{B18A1B3A-248C-46B7-9F8A-52AEA66AF423}"/>
    </a:ext>
  </a:extLst>
</a:theme>
</file>

<file path=ppt/theme/theme2.xml><?xml version="1.0" encoding="utf-8"?>
<a:theme xmlns:a="http://schemas.openxmlformats.org/drawingml/2006/main" name="Kantoorthema">
  <a:themeElements>
    <a:clrScheme name="ABN AMRO">
      <a:dk1>
        <a:srgbClr val="000000"/>
      </a:dk1>
      <a:lt1>
        <a:sysClr val="window" lastClr="FFFFFF"/>
      </a:lt1>
      <a:dk2>
        <a:srgbClr val="009286"/>
      </a:dk2>
      <a:lt2>
        <a:srgbClr val="004C4C"/>
      </a:lt2>
      <a:accent1>
        <a:srgbClr val="79838C"/>
      </a:accent1>
      <a:accent2>
        <a:srgbClr val="009286"/>
      </a:accent2>
      <a:accent3>
        <a:srgbClr val="BBBEC3"/>
      </a:accent3>
      <a:accent4>
        <a:srgbClr val="005E5D"/>
      </a:accent4>
      <a:accent5>
        <a:srgbClr val="F3C000"/>
      </a:accent5>
      <a:accent6>
        <a:srgbClr val="006480"/>
      </a:accent6>
      <a:hlink>
        <a:srgbClr val="009286"/>
      </a:hlink>
      <a:folHlink>
        <a:srgbClr val="0067B2"/>
      </a:folHlink>
    </a:clrScheme>
    <a:fontScheme name="Aangepas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2"/>
          </a:solidFill>
          <a:headEnd type="none" w="med" len="med"/>
          <a:tailEnd type="oval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35731041D68E479D4061DB65E85A9D" ma:contentTypeVersion="16" ma:contentTypeDescription="Een nieuw document maken." ma:contentTypeScope="" ma:versionID="ef13125cec03ea32b7f7b2fb38be439f">
  <xsd:schema xmlns:xsd="http://www.w3.org/2001/XMLSchema" xmlns:xs="http://www.w3.org/2001/XMLSchema" xmlns:p="http://schemas.microsoft.com/office/2006/metadata/properties" xmlns:ns2="53dbb911-c30a-421f-b09c-09dd51c662b7" xmlns:ns3="c962d9db-3d13-45f0-8a7d-4953e14385ca" targetNamespace="http://schemas.microsoft.com/office/2006/metadata/properties" ma:root="true" ma:fieldsID="83ae3767d113b8d814f4a957d85ea42e" ns2:_="" ns3:_="">
    <xsd:import namespace="53dbb911-c30a-421f-b09c-09dd51c662b7"/>
    <xsd:import namespace="c962d9db-3d13-45f0-8a7d-4953e14385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dbb911-c30a-421f-b09c-09dd51c662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Afbeeldingtags" ma:readOnly="false" ma:fieldId="{5cf76f15-5ced-4ddc-b409-7134ff3c332f}" ma:taxonomyMulti="true" ma:sspId="b914e6b1-0896-40a9-85da-0b0e1f3ba4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2d9db-3d13-45f0-8a7d-4953e14385c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7ddf58a-400d-4ed4-b70f-8fec476dde17}" ma:internalName="TaxCatchAll" ma:showField="CatchAllData" ma:web="c962d9db-3d13-45f0-8a7d-4953e14385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3dbb911-c30a-421f-b09c-09dd51c662b7">
      <Terms xmlns="http://schemas.microsoft.com/office/infopath/2007/PartnerControls"/>
    </lcf76f155ced4ddcb4097134ff3c332f>
    <TaxCatchAll xmlns="c962d9db-3d13-45f0-8a7d-4953e14385ca" xsi:nil="true"/>
    <SharedWithUsers xmlns="c962d9db-3d13-45f0-8a7d-4953e14385ca">
      <UserInfo>
        <DisplayName/>
        <AccountId xsi:nil="true"/>
        <AccountType/>
      </UserInfo>
    </SharedWithUsers>
    <MediaLengthInSeconds xmlns="53dbb911-c30a-421f-b09c-09dd51c662b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CE4295-34B9-488F-8ADF-4F30248ED5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dbb911-c30a-421f-b09c-09dd51c662b7"/>
    <ds:schemaRef ds:uri="c962d9db-3d13-45f0-8a7d-4953e14385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DC51916-87AC-4A9B-A959-3350DB9B11FB}">
  <ds:schemaRefs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c962d9db-3d13-45f0-8a7d-4953e14385ca"/>
    <ds:schemaRef ds:uri="53dbb911-c30a-421f-b09c-09dd51c662b7"/>
  </ds:schemaRefs>
</ds:datastoreItem>
</file>

<file path=customXml/itemProps3.xml><?xml version="1.0" encoding="utf-8"?>
<ds:datastoreItem xmlns:ds="http://schemas.openxmlformats.org/officeDocument/2006/customXml" ds:itemID="{488198E7-3907-46AD-AD9B-68EBD5698BE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886</TotalTime>
  <Words>1908</Words>
  <Application>Microsoft Macintosh PowerPoint</Application>
  <PresentationFormat>On-screen Show (16:9)</PresentationFormat>
  <Paragraphs>468</Paragraphs>
  <Slides>5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60" baseType="lpstr">
      <vt:lpstr>Arial</vt:lpstr>
      <vt:lpstr>Calibri</vt:lpstr>
      <vt:lpstr>Courier New</vt:lpstr>
      <vt:lpstr>Menlo</vt:lpstr>
      <vt:lpstr>Wingdings</vt:lpstr>
      <vt:lpstr>Wingdings 3</vt:lpstr>
      <vt:lpstr>Extern 16x9 EN</vt:lpstr>
      <vt:lpstr>Kantoorthem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BN AM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ijer,Tamar</dc:creator>
  <cp:lastModifiedBy>Illia Lebid</cp:lastModifiedBy>
  <cp:revision>126</cp:revision>
  <dcterms:created xsi:type="dcterms:W3CDTF">2018-08-28T11:37:56Z</dcterms:created>
  <dcterms:modified xsi:type="dcterms:W3CDTF">2023-10-20T15:5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bce33f7-04c0-4596-9b71-ba8617e88451_Enabled">
    <vt:lpwstr>true</vt:lpwstr>
  </property>
  <property fmtid="{D5CDD505-2E9C-101B-9397-08002B2CF9AE}" pid="3" name="MSIP_Label_0bce33f7-04c0-4596-9b71-ba8617e88451_SetDate">
    <vt:lpwstr>2021-02-04T16:39:13Z</vt:lpwstr>
  </property>
  <property fmtid="{D5CDD505-2E9C-101B-9397-08002B2CF9AE}" pid="4" name="MSIP_Label_0bce33f7-04c0-4596-9b71-ba8617e88451_Method">
    <vt:lpwstr>Privileged</vt:lpwstr>
  </property>
  <property fmtid="{D5CDD505-2E9C-101B-9397-08002B2CF9AE}" pid="5" name="MSIP_Label_0bce33f7-04c0-4596-9b71-ba8617e88451_Name">
    <vt:lpwstr>0bce33f7-04c0-4596-9b71-ba8617e88451</vt:lpwstr>
  </property>
  <property fmtid="{D5CDD505-2E9C-101B-9397-08002B2CF9AE}" pid="6" name="MSIP_Label_0bce33f7-04c0-4596-9b71-ba8617e88451_SiteId">
    <vt:lpwstr>3a15904d-3fd9-4256-a753-beb05cdf0c6d</vt:lpwstr>
  </property>
  <property fmtid="{D5CDD505-2E9C-101B-9397-08002B2CF9AE}" pid="7" name="MSIP_Label_0bce33f7-04c0-4596-9b71-ba8617e88451_ActionId">
    <vt:lpwstr>238eb7c8-5bda-467c-9b3a-46e9036623c2</vt:lpwstr>
  </property>
  <property fmtid="{D5CDD505-2E9C-101B-9397-08002B2CF9AE}" pid="8" name="MSIP_Label_0bce33f7-04c0-4596-9b71-ba8617e88451_ContentBits">
    <vt:lpwstr>0</vt:lpwstr>
  </property>
  <property fmtid="{D5CDD505-2E9C-101B-9397-08002B2CF9AE}" pid="9" name="ContentTypeId">
    <vt:lpwstr>0x010100D035731041D68E479D4061DB65E85A9D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bool>false</vt:bool>
  </property>
  <property fmtid="{D5CDD505-2E9C-101B-9397-08002B2CF9AE}" pid="16" name="xd_ProgID">
    <vt:lpwstr/>
  </property>
  <property fmtid="{D5CDD505-2E9C-101B-9397-08002B2CF9AE}" pid="17" name="TemplateUrl">
    <vt:lpwstr/>
  </property>
  <property fmtid="{D5CDD505-2E9C-101B-9397-08002B2CF9AE}" pid="18" name="MediaServiceImageTags">
    <vt:lpwstr/>
  </property>
</Properties>
</file>